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6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7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1" r:id="rId1"/>
    <p:sldMasterId id="2147484292" r:id="rId2"/>
    <p:sldMasterId id="2147484537" r:id="rId3"/>
    <p:sldMasterId id="2147484319" r:id="rId4"/>
    <p:sldMasterId id="2147484353" r:id="rId5"/>
    <p:sldMasterId id="2147484393" r:id="rId6"/>
    <p:sldMasterId id="2147484437" r:id="rId7"/>
  </p:sldMasterIdLst>
  <p:sldIdLst>
    <p:sldId id="256" r:id="rId8"/>
    <p:sldId id="257" r:id="rId9"/>
    <p:sldId id="259" r:id="rId10"/>
    <p:sldId id="260" r:id="rId11"/>
    <p:sldId id="264" r:id="rId12"/>
    <p:sldId id="261" r:id="rId13"/>
    <p:sldId id="262" r:id="rId14"/>
    <p:sldId id="263" r:id="rId15"/>
    <p:sldId id="265" r:id="rId16"/>
  </p:sldIdLst>
  <p:sldSz cx="9144000" cy="5143500" type="screen16x9"/>
  <p:notesSz cx="6858000" cy="9144000"/>
  <p:defaultTextStyle>
    <a:defPPr>
      <a:defRPr lang="ru-RU"/>
    </a:defPPr>
    <a:lvl1pPr marL="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58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3" autoAdjust="0"/>
    <p:restoredTop sz="94660"/>
  </p:normalViewPr>
  <p:slideViewPr>
    <p:cSldViewPr snapToGrid="0">
      <p:cViewPr varScale="1">
        <p:scale>
          <a:sx n="145" d="100"/>
          <a:sy n="145" d="100"/>
        </p:scale>
        <p:origin x="192" y="114"/>
      </p:cViewPr>
      <p:guideLst>
        <p:guide orient="horz" pos="758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10" Type="http://schemas.openxmlformats.org/officeDocument/2006/relationships/slide" Target="slides/slide3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4.wmf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wmf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7.jpg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microsoft.com/office/2007/relationships/hdphoto" Target="../media/hdphoto1.wdp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w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7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w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wmf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6.jpg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wmf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6.jpg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w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4.w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- наноли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9181869" y="3"/>
            <a:ext cx="2781533" cy="5143499"/>
            <a:chOff x="9181867" y="1"/>
            <a:chExt cx="2781533" cy="5143499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9181867" y="1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576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9256592" y="6832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9256592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9256592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9256592" y="3367556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9256592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9256592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9256592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9256592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9256592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9256592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9256594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9256594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0</a:t>
              </a: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9256594" y="3367559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9256594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9256594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6</a:t>
              </a: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9256594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9256594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56594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56594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cxnSp>
          <p:nvCxnSpPr>
            <p:cNvPr id="9" name="Прямая соединительная линия 8"/>
            <p:cNvCxnSpPr/>
            <p:nvPr/>
          </p:nvCxnSpPr>
          <p:spPr bwMode="auto">
            <a:xfrm>
              <a:off x="9753600" y="444500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5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7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901AC770-E943-4FB7-BE64-A63C081C98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566" y="796323"/>
            <a:ext cx="2694711" cy="3638650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304876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4570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 в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3478072"/>
            <a:ext cx="9144000" cy="1665428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22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Прямоугольник 6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02217" y="898072"/>
            <a:ext cx="8506117" cy="1298132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defRPr kumimoji="0" lang="ru-RU" sz="3200" b="0" i="0" u="none" strike="noStrike" kern="1200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defTabSz="914395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ru-RU" dirty="0"/>
              <a:t>Название презентации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 bwMode="auto">
          <a:xfrm>
            <a:off x="393539" y="2429278"/>
            <a:ext cx="0" cy="69696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Прямая соединительная линия 38"/>
          <p:cNvCxnSpPr/>
          <p:nvPr/>
        </p:nvCxnSpPr>
        <p:spPr bwMode="auto">
          <a:xfrm>
            <a:off x="5577368" y="2429278"/>
            <a:ext cx="0" cy="69696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76184" y="2351925"/>
            <a:ext cx="5024960" cy="774322"/>
          </a:xfrm>
          <a:prstGeom prst="rect">
            <a:avLst/>
          </a:prstGeom>
        </p:spPr>
        <p:txBody>
          <a:bodyPr tIns="3600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4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5653593" y="2351925"/>
            <a:ext cx="3154741" cy="774322"/>
          </a:xfrm>
          <a:prstGeom prst="rect">
            <a:avLst/>
          </a:prstGeom>
        </p:spPr>
        <p:txBody>
          <a:bodyPr tIns="36000"/>
          <a:lstStyle>
            <a:lvl1pPr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998" y="366765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5838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колла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858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64485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1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564487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64485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8" name="Полилиния 37"/>
          <p:cNvSpPr/>
          <p:nvPr/>
        </p:nvSpPr>
        <p:spPr bwMode="auto">
          <a:xfrm>
            <a:off x="4844394" y="-1929"/>
            <a:ext cx="4305387" cy="5153178"/>
          </a:xfrm>
          <a:custGeom>
            <a:avLst/>
            <a:gdLst>
              <a:gd name="connsiteX0" fmla="*/ 0 w 4360542"/>
              <a:gd name="connsiteY0" fmla="*/ 0 h 5143500"/>
              <a:gd name="connsiteX1" fmla="*/ 367383 w 4360542"/>
              <a:gd name="connsiteY1" fmla="*/ 0 h 5143500"/>
              <a:gd name="connsiteX2" fmla="*/ 2298483 w 4360542"/>
              <a:gd name="connsiteY2" fmla="*/ 2540650 h 5143500"/>
              <a:gd name="connsiteX3" fmla="*/ 4305387 w 4360542"/>
              <a:gd name="connsiteY3" fmla="*/ 148915 h 5143500"/>
              <a:gd name="connsiteX4" fmla="*/ 4360542 w 4360542"/>
              <a:gd name="connsiteY4" fmla="*/ 195195 h 5143500"/>
              <a:gd name="connsiteX5" fmla="*/ 1896442 w 4360542"/>
              <a:gd name="connsiteY5" fmla="*/ 3131796 h 5143500"/>
              <a:gd name="connsiteX6" fmla="*/ 367383 w 4360542"/>
              <a:gd name="connsiteY6" fmla="*/ 5143500 h 5143500"/>
              <a:gd name="connsiteX7" fmla="*/ 0 w 4360542"/>
              <a:gd name="connsiteY7" fmla="*/ 5143500 h 5143500"/>
              <a:gd name="connsiteX0" fmla="*/ 0 w 4360542"/>
              <a:gd name="connsiteY0" fmla="*/ 0 h 5143500"/>
              <a:gd name="connsiteX1" fmla="*/ 367383 w 4360542"/>
              <a:gd name="connsiteY1" fmla="*/ 0 h 5143500"/>
              <a:gd name="connsiteX2" fmla="*/ 2298483 w 4360542"/>
              <a:gd name="connsiteY2" fmla="*/ 2540650 h 5143500"/>
              <a:gd name="connsiteX3" fmla="*/ 4305387 w 4360542"/>
              <a:gd name="connsiteY3" fmla="*/ 148915 h 5143500"/>
              <a:gd name="connsiteX4" fmla="*/ 4360542 w 4360542"/>
              <a:gd name="connsiteY4" fmla="*/ 195195 h 5143500"/>
              <a:gd name="connsiteX5" fmla="*/ 1896442 w 4360542"/>
              <a:gd name="connsiteY5" fmla="*/ 3131796 h 5143500"/>
              <a:gd name="connsiteX6" fmla="*/ 150407 w 4360542"/>
              <a:gd name="connsiteY6" fmla="*/ 5143500 h 5143500"/>
              <a:gd name="connsiteX7" fmla="*/ 0 w 4360542"/>
              <a:gd name="connsiteY7" fmla="*/ 5143500 h 5143500"/>
              <a:gd name="connsiteX8" fmla="*/ 0 w 4360542"/>
              <a:gd name="connsiteY8" fmla="*/ 0 h 5143500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298483 w 4360542"/>
              <a:gd name="connsiteY2" fmla="*/ 2540650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896442 w 4360542"/>
              <a:gd name="connsiteY5" fmla="*/ 3131796 h 5151249"/>
              <a:gd name="connsiteX6" fmla="*/ 150407 w 4360542"/>
              <a:gd name="connsiteY6" fmla="*/ 5151249 h 5151249"/>
              <a:gd name="connsiteX7" fmla="*/ 0 w 4360542"/>
              <a:gd name="connsiteY7" fmla="*/ 5143500 h 5151249"/>
              <a:gd name="connsiteX8" fmla="*/ 0 w 4360542"/>
              <a:gd name="connsiteY8" fmla="*/ 0 h 5151249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298483 w 4360542"/>
              <a:gd name="connsiteY2" fmla="*/ 2540650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290766 w 4360542"/>
              <a:gd name="connsiteY2" fmla="*/ 2527146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333206 w 4360542"/>
              <a:gd name="connsiteY2" fmla="*/ 2480848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0 h 5151249"/>
              <a:gd name="connsiteX1" fmla="*/ 423327 w 4360542"/>
              <a:gd name="connsiteY1" fmla="*/ 1929 h 5151249"/>
              <a:gd name="connsiteX2" fmla="*/ 2333206 w 4360542"/>
              <a:gd name="connsiteY2" fmla="*/ 2480848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1929 h 5153178"/>
              <a:gd name="connsiteX1" fmla="*/ 427185 w 4360542"/>
              <a:gd name="connsiteY1" fmla="*/ 0 h 5153178"/>
              <a:gd name="connsiteX2" fmla="*/ 2333206 w 4360542"/>
              <a:gd name="connsiteY2" fmla="*/ 2482777 h 5153178"/>
              <a:gd name="connsiteX3" fmla="*/ 4305387 w 4360542"/>
              <a:gd name="connsiteY3" fmla="*/ 150844 h 5153178"/>
              <a:gd name="connsiteX4" fmla="*/ 4360542 w 4360542"/>
              <a:gd name="connsiteY4" fmla="*/ 197124 h 5153178"/>
              <a:gd name="connsiteX5" fmla="*/ 150407 w 4360542"/>
              <a:gd name="connsiteY5" fmla="*/ 5153178 h 5153178"/>
              <a:gd name="connsiteX6" fmla="*/ 0 w 4360542"/>
              <a:gd name="connsiteY6" fmla="*/ 5145429 h 5153178"/>
              <a:gd name="connsiteX7" fmla="*/ 0 w 4360542"/>
              <a:gd name="connsiteY7" fmla="*/ 1929 h 5153178"/>
              <a:gd name="connsiteX0" fmla="*/ 0 w 4305387"/>
              <a:gd name="connsiteY0" fmla="*/ 1929 h 5153178"/>
              <a:gd name="connsiteX1" fmla="*/ 427185 w 4305387"/>
              <a:gd name="connsiteY1" fmla="*/ 0 h 5153178"/>
              <a:gd name="connsiteX2" fmla="*/ 2333206 w 4305387"/>
              <a:gd name="connsiteY2" fmla="*/ 2482777 h 5153178"/>
              <a:gd name="connsiteX3" fmla="*/ 4305387 w 4305387"/>
              <a:gd name="connsiteY3" fmla="*/ 150844 h 5153178"/>
              <a:gd name="connsiteX4" fmla="*/ 4302669 w 4305387"/>
              <a:gd name="connsiteY4" fmla="*/ 272359 h 5153178"/>
              <a:gd name="connsiteX5" fmla="*/ 150407 w 4305387"/>
              <a:gd name="connsiteY5" fmla="*/ 5153178 h 5153178"/>
              <a:gd name="connsiteX6" fmla="*/ 0 w 4305387"/>
              <a:gd name="connsiteY6" fmla="*/ 5145429 h 5153178"/>
              <a:gd name="connsiteX7" fmla="*/ 0 w 4305387"/>
              <a:gd name="connsiteY7" fmla="*/ 1929 h 5153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305387" h="5153178">
                <a:moveTo>
                  <a:pt x="0" y="1929"/>
                </a:moveTo>
                <a:lnTo>
                  <a:pt x="427185" y="0"/>
                </a:lnTo>
                <a:lnTo>
                  <a:pt x="2333206" y="2482777"/>
                </a:lnTo>
                <a:lnTo>
                  <a:pt x="4305387" y="150844"/>
                </a:lnTo>
                <a:lnTo>
                  <a:pt x="4302669" y="272359"/>
                </a:lnTo>
                <a:lnTo>
                  <a:pt x="150407" y="5153178"/>
                </a:lnTo>
                <a:lnTo>
                  <a:pt x="0" y="5145429"/>
                </a:lnTo>
                <a:lnTo>
                  <a:pt x="0" y="1929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Рисунок 13"/>
          <p:cNvSpPr>
            <a:spLocks noGrp="1"/>
          </p:cNvSpPr>
          <p:nvPr>
            <p:ph type="pic" sz="quarter" idx="15" hasCustomPrompt="1"/>
          </p:nvPr>
        </p:nvSpPr>
        <p:spPr bwMode="auto">
          <a:xfrm>
            <a:off x="5003145" y="170985"/>
            <a:ext cx="4137788" cy="4972515"/>
          </a:xfrm>
          <a:custGeom>
            <a:avLst/>
            <a:gdLst>
              <a:gd name="connsiteX0" fmla="*/ 0 w 4126526"/>
              <a:gd name="connsiteY0" fmla="*/ 0 h 4838700"/>
              <a:gd name="connsiteX1" fmla="*/ 4126526 w 4126526"/>
              <a:gd name="connsiteY1" fmla="*/ 0 h 4838700"/>
              <a:gd name="connsiteX2" fmla="*/ 4126526 w 4126526"/>
              <a:gd name="connsiteY2" fmla="*/ 4838700 h 4838700"/>
              <a:gd name="connsiteX3" fmla="*/ 0 w 4126526"/>
              <a:gd name="connsiteY3" fmla="*/ 4838700 h 4838700"/>
              <a:gd name="connsiteX4" fmla="*/ 0 w 4126526"/>
              <a:gd name="connsiteY4" fmla="*/ 0 h 4838700"/>
              <a:gd name="connsiteX0" fmla="*/ 4108938 w 4126526"/>
              <a:gd name="connsiteY0" fmla="*/ 5862 h 4838700"/>
              <a:gd name="connsiteX1" fmla="*/ 4126526 w 4126526"/>
              <a:gd name="connsiteY1" fmla="*/ 0 h 4838700"/>
              <a:gd name="connsiteX2" fmla="*/ 4126526 w 4126526"/>
              <a:gd name="connsiteY2" fmla="*/ 4838700 h 4838700"/>
              <a:gd name="connsiteX3" fmla="*/ 0 w 4126526"/>
              <a:gd name="connsiteY3" fmla="*/ 4838700 h 4838700"/>
              <a:gd name="connsiteX4" fmla="*/ 4108938 w 4126526"/>
              <a:gd name="connsiteY4" fmla="*/ 5862 h 4838700"/>
              <a:gd name="connsiteX0" fmla="*/ 4108938 w 4136800"/>
              <a:gd name="connsiteY0" fmla="*/ 40794 h 4873632"/>
              <a:gd name="connsiteX1" fmla="*/ 4136800 w 4136800"/>
              <a:gd name="connsiteY1" fmla="*/ 0 h 4873632"/>
              <a:gd name="connsiteX2" fmla="*/ 4126526 w 4136800"/>
              <a:gd name="connsiteY2" fmla="*/ 4873632 h 4873632"/>
              <a:gd name="connsiteX3" fmla="*/ 0 w 4136800"/>
              <a:gd name="connsiteY3" fmla="*/ 4873632 h 4873632"/>
              <a:gd name="connsiteX4" fmla="*/ 4108938 w 4136800"/>
              <a:gd name="connsiteY4" fmla="*/ 40794 h 4873632"/>
              <a:gd name="connsiteX0" fmla="*/ 4108938 w 4137788"/>
              <a:gd name="connsiteY0" fmla="*/ 40794 h 4873632"/>
              <a:gd name="connsiteX1" fmla="*/ 4136800 w 4137788"/>
              <a:gd name="connsiteY1" fmla="*/ 0 h 4873632"/>
              <a:gd name="connsiteX2" fmla="*/ 4136800 w 4137788"/>
              <a:gd name="connsiteY2" fmla="*/ 4873632 h 4873632"/>
              <a:gd name="connsiteX3" fmla="*/ 0 w 4137788"/>
              <a:gd name="connsiteY3" fmla="*/ 4873632 h 4873632"/>
              <a:gd name="connsiteX4" fmla="*/ 4108938 w 4137788"/>
              <a:gd name="connsiteY4" fmla="*/ 40794 h 4873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37788" h="4873632">
                <a:moveTo>
                  <a:pt x="4108938" y="40794"/>
                </a:moveTo>
                <a:lnTo>
                  <a:pt x="4136800" y="0"/>
                </a:lnTo>
                <a:cubicBezTo>
                  <a:pt x="4133375" y="1624544"/>
                  <a:pt x="4140225" y="3249088"/>
                  <a:pt x="4136800" y="4873632"/>
                </a:cubicBezTo>
                <a:lnTo>
                  <a:pt x="0" y="4873632"/>
                </a:lnTo>
                <a:lnTo>
                  <a:pt x="4108938" y="40794"/>
                </a:lnTo>
                <a:close/>
              </a:path>
            </a:pathLst>
          </a:custGeom>
          <a:noFill/>
          <a:ln w="1905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anchor="b"/>
          <a:lstStyle>
            <a:lvl1pPr algn="ctr">
              <a:defRPr sz="825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21" hasCustomPrompt="1"/>
          </p:nvPr>
        </p:nvSpPr>
        <p:spPr>
          <a:xfrm>
            <a:off x="5430371" y="0"/>
            <a:ext cx="3735147" cy="2239922"/>
          </a:xfrm>
          <a:prstGeom prst="flowChartMerge">
            <a:avLst/>
          </a:prstGeom>
        </p:spPr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485" y="357166"/>
            <a:ext cx="876123" cy="165600"/>
          </a:xfrm>
          <a:prstGeom prst="rect">
            <a:avLst/>
          </a:prstGeom>
        </p:spPr>
      </p:pic>
      <p:sp>
        <p:nvSpPr>
          <p:cNvPr id="14" name="Прямоугольник 4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15" name="Прямоугольник 4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6" name="Прямоугольник 4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7" name="Прямоугольник 4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18" name="Прямоугольник 5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19" name="Прямоугольник 5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0" name="Прямоугольник 5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1" name="Прямоугольник 5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2" name="Прямоугольник 5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23" name="Прямоугольник 5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4" name="Прямоугольник 5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25" name="Прямоугольник 5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26" name="Прямоугольник 5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7" name="Прямоугольник 5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8" name="Прямоугольник 6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29" name="Прямоугольник 6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0" name="Прямоугольник 6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1" name="Прямоугольник 6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2" name="Прямоугольник 6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23862231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uрафи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260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5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049" y="2291184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506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бирюзовый фон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67631"/>
            <a:ext cx="3691499" cy="3983742"/>
          </a:xfrm>
          <a:prstGeom prst="rect">
            <a:avLst/>
          </a:prstGeom>
        </p:spPr>
      </p:pic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194" name="Слайд think-cell" r:id="rId7" imgW="270" imgH="270" progId="TCLayout.ActiveDocument.1">
                  <p:embed/>
                </p:oleObj>
              </mc:Choice>
              <mc:Fallback>
                <p:oleObj name="Слайд think-cell" r:id="rId7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2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9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302031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1438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29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17674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31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3962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9859878"/>
              </p:ext>
            </p:ext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338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55600" y="1477755"/>
            <a:ext cx="8606460" cy="634350"/>
          </a:xfrm>
          <a:prstGeom prst="rect">
            <a:avLst/>
          </a:prstGeom>
        </p:spPr>
        <p:txBody>
          <a:bodyPr anchor="t"/>
          <a:lstStyle>
            <a:lvl1pPr algn="l">
              <a:defRPr sz="2000" b="0" cap="all" baseline="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99956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362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55601" y="1729716"/>
            <a:ext cx="8607046" cy="1021556"/>
          </a:xfrm>
          <a:prstGeom prst="rect">
            <a:avLst/>
          </a:prstGeom>
        </p:spPr>
        <p:txBody>
          <a:bodyPr anchor="t"/>
          <a:lstStyle>
            <a:lvl1pPr algn="ctr">
              <a:defRPr sz="1800" b="0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97063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386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cxnSp>
        <p:nvCxnSpPr>
          <p:cNvPr id="7" name="Прямая соединительная линия 6"/>
          <p:cNvCxnSpPr>
            <a:cxnSpLocks/>
          </p:cNvCxnSpPr>
          <p:nvPr/>
        </p:nvCxnSpPr>
        <p:spPr bwMode="auto">
          <a:xfrm>
            <a:off x="631317" y="1630913"/>
            <a:ext cx="195660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620707" y="1630913"/>
            <a:ext cx="266901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Текст 18"/>
          <p:cNvSpPr>
            <a:spLocks noGrp="1"/>
          </p:cNvSpPr>
          <p:nvPr>
            <p:ph type="body" sz="quarter" idx="13"/>
          </p:nvPr>
        </p:nvSpPr>
        <p:spPr>
          <a:xfrm>
            <a:off x="612282" y="1302635"/>
            <a:ext cx="2951754" cy="217646"/>
          </a:xfrm>
          <a:prstGeom prst="rect">
            <a:avLst/>
          </a:prstGeom>
        </p:spPr>
        <p:txBody>
          <a:bodyPr/>
          <a:lstStyle>
            <a:lvl1pPr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52763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7" name="Таблица 6"/>
          <p:cNvSpPr>
            <a:spLocks noGrp="1"/>
          </p:cNvSpPr>
          <p:nvPr>
            <p:ph type="tbl" sz="quarter" idx="13"/>
          </p:nvPr>
        </p:nvSpPr>
        <p:spPr>
          <a:xfrm>
            <a:off x="255588" y="998538"/>
            <a:ext cx="8650287" cy="3595687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9191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Прямая соединительная линия 12"/>
          <p:cNvCxnSpPr>
            <a:endCxn id="36" idx="3"/>
          </p:cNvCxnSpPr>
          <p:nvPr/>
        </p:nvCxnSpPr>
        <p:spPr bwMode="auto">
          <a:xfrm flipH="1" flipV="1">
            <a:off x="5104601" y="4659166"/>
            <a:ext cx="4039404" cy="3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/>
          <p:nvPr/>
        </p:nvCxnSpPr>
        <p:spPr bwMode="auto">
          <a:xfrm>
            <a:off x="2" y="4659165"/>
            <a:ext cx="3840163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Группа 3"/>
          <p:cNvGrpSpPr/>
          <p:nvPr/>
        </p:nvGrpSpPr>
        <p:grpSpPr>
          <a:xfrm>
            <a:off x="9181869" y="3"/>
            <a:ext cx="2781533" cy="5143499"/>
            <a:chOff x="9181867" y="1"/>
            <a:chExt cx="2781533" cy="5143499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9181867" y="1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576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9256592" y="6832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9256592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9256592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9256592" y="3367556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9256592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9256592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9256592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9256592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9256592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9256592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9256594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9256594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0</a:t>
              </a: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9256594" y="3367559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9256594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9256594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6</a:t>
              </a: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9256594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9256594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56594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56594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cxnSp>
          <p:nvCxnSpPr>
            <p:cNvPr id="9" name="Прямая соединительная линия 8"/>
            <p:cNvCxnSpPr/>
            <p:nvPr/>
          </p:nvCxnSpPr>
          <p:spPr bwMode="auto">
            <a:xfrm>
              <a:off x="9753600" y="444500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6" name="TextBox 35"/>
          <p:cNvSpPr txBox="1"/>
          <p:nvPr/>
        </p:nvSpPr>
        <p:spPr>
          <a:xfrm>
            <a:off x="3819313" y="4520666"/>
            <a:ext cx="12852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accent1"/>
                </a:solidFill>
              </a:rPr>
              <a:t>ООО «СИБУР»</a:t>
            </a:r>
          </a:p>
        </p:txBody>
      </p:sp>
      <p:sp>
        <p:nvSpPr>
          <p:cNvPr id="39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58FCD8F3-C746-4DE4-8045-39CBABF7AD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566" y="796323"/>
            <a:ext cx="2694711" cy="3638650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304876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1619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55600" y="168897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255600" y="230411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255600" y="291925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255600" y="353439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255600" y="414953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C26854C-9590-4F77-A1DA-AD30F168CD3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35648" y="1001017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6C1560EF-8C42-46D3-A113-AED54EB909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35648" y="1617681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7ABE165-F729-425A-9522-F3ACCC449C7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35648" y="2234345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F9A3E6EC-E939-43BF-BEAA-BE9928A833D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35648" y="2851009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451A043-E6A6-452E-BB24-0D7E5BCFDF5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35648" y="3467673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627E7D48-BBF6-4E78-B5EB-487E2B77411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35648" y="4084337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9776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5665140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49963" y="0"/>
            <a:ext cx="3094037" cy="51435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C9C594E9-F98C-4ECD-BBE5-1A777FD07C4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35648" y="100101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5560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CBB7B1C5-0535-4FD0-9141-E4811B53E2B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35648" y="153635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25560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3989DD66-5540-48DC-A10A-5DDAB08B011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35648" y="2075971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25560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292F8E39-E868-4536-A12D-FD1C3FBCA9C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5648" y="2615589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5560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BE6F9E0F-6B32-4528-B792-28DB2E17C00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35648" y="315520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25560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A1A60B29-3714-4301-95B5-4828A8E2C17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35648" y="3694825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25560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A6565569-AD3D-4D67-9D0D-713544D2377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35648" y="423444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5283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выво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45227" y="1001016"/>
            <a:ext cx="2646774" cy="375228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55599" y="4755454"/>
            <a:ext cx="5989628" cy="332562"/>
          </a:xfrm>
        </p:spPr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1CE97842-6475-454B-98E4-01D23229437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35648" y="100101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5560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5B98125D-1849-4AF0-BE91-E7620FA2CD9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35648" y="153635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25560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68FBEC0-B9BA-476B-ABDD-7E71B00EE8E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35648" y="2075971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25560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E29092CD-E822-4EDC-B8B6-0CD610BF5A3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5648" y="2615589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5560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17D889CD-8958-4384-9905-DA3BB80B463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35648" y="315520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25560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9CFB8B23-03A2-49E8-B1D0-9DC2CBF3B7D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35648" y="3694825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25560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1B760FD3-9F71-474E-8525-B92C26CC945A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35648" y="423444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9377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предпосыл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967120"/>
            <a:ext cx="2804795" cy="36921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385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C980792E-90B1-44B5-8002-FDCADECFF35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718548" y="100101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3850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5500CAD4-F3E7-4A42-9896-E4DE9E9D76B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18548" y="153635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3850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C1581854-5F88-478E-B1DF-C7C6B471439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718548" y="2075971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3850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AAD4FB18-41A7-45E9-8170-51281C4A35D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18548" y="2615589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3850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728204F5-9978-458C-B886-0FE2D703C4C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718548" y="315520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3850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CD3562CE-A3F4-466B-A9D3-AC2175F868C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718548" y="3694825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3850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id="{5CE170A8-BA82-4FE4-ADC7-72FC991D905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718548" y="423444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0460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фото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64020" y="204540"/>
            <a:ext cx="5527980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94037" cy="51435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36402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D1C6CFE-3B42-4E68-8F90-D16CA3CB581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844068" y="100101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36402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0EC294AA-CA93-448B-8CDF-AABD8FA081A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844068" y="153635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36402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181702C2-B12F-4EAE-994D-1092DDAA840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844068" y="2075971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36402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309921A7-5A7D-429D-98F8-5C3D0D68DF4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844068" y="2615589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36402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1CE4F2F3-D83C-44A2-ADA5-3A2B4310AC3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44068" y="315520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36402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D755A123-151B-4050-A5F3-4A9019222E3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844068" y="3694825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6402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1D5355F9-7F30-4BD3-9D56-6F134F19492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44068" y="423444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6816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лева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85357" y="967120"/>
            <a:ext cx="4106643" cy="36921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5358" y="204540"/>
            <a:ext cx="4106641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64380" cy="51435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9847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права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55601" y="967120"/>
            <a:ext cx="4106643" cy="36921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4106641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55600" y="4755454"/>
            <a:ext cx="4106641" cy="332562"/>
          </a:xfrm>
        </p:spPr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9620" y="0"/>
            <a:ext cx="4564380" cy="51435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5395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4"/>
          </p:nvPr>
        </p:nvSpPr>
        <p:spPr>
          <a:xfrm>
            <a:off x="255588" y="842963"/>
            <a:ext cx="4210050" cy="38163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/>
          </p:nvPr>
        </p:nvSpPr>
        <p:spPr>
          <a:xfrm>
            <a:off x="4681950" y="842963"/>
            <a:ext cx="4210050" cy="38163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5440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колонки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Текст 8"/>
          <p:cNvSpPr>
            <a:spLocks noGrp="1"/>
          </p:cNvSpPr>
          <p:nvPr>
            <p:ph type="body" sz="quarter" idx="22"/>
          </p:nvPr>
        </p:nvSpPr>
        <p:spPr>
          <a:xfrm>
            <a:off x="4667663" y="1352550"/>
            <a:ext cx="4224337" cy="3306763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21"/>
          </p:nvPr>
        </p:nvSpPr>
        <p:spPr>
          <a:xfrm>
            <a:off x="255588" y="1352550"/>
            <a:ext cx="4224337" cy="3306763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DC95F010-2C41-49B4-994C-8AE1F73A8DE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776C387D-3753-4B75-92C6-5D3702D4152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8561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диаграммы и комментар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3303588"/>
            <a:ext cx="4224338" cy="13557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55588" y="1363625"/>
            <a:ext cx="4224337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4667663" y="1363625"/>
            <a:ext cx="4224337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67663" y="3303588"/>
            <a:ext cx="4224338" cy="13557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9964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- ПАО «СИБУР Холдинг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Прямая соединительная линия 12"/>
          <p:cNvCxnSpPr>
            <a:endCxn id="32" idx="3"/>
          </p:cNvCxnSpPr>
          <p:nvPr/>
        </p:nvCxnSpPr>
        <p:spPr bwMode="auto">
          <a:xfrm flipH="1" flipV="1">
            <a:off x="5764121" y="4656786"/>
            <a:ext cx="3369172" cy="1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>
            <a:endCxn id="32" idx="1"/>
          </p:cNvCxnSpPr>
          <p:nvPr/>
        </p:nvCxnSpPr>
        <p:spPr bwMode="auto">
          <a:xfrm flipV="1">
            <a:off x="-834" y="4656786"/>
            <a:ext cx="3819165" cy="1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Группа 3"/>
          <p:cNvGrpSpPr/>
          <p:nvPr/>
        </p:nvGrpSpPr>
        <p:grpSpPr>
          <a:xfrm>
            <a:off x="9220086" y="3"/>
            <a:ext cx="2781533" cy="5143499"/>
            <a:chOff x="9220084" y="1"/>
            <a:chExt cx="2781533" cy="5143499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9220084" y="1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576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1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1" dirty="0">
                  <a:solidFill>
                    <a:schemeClr val="bg1"/>
                  </a:solidFill>
                </a:rPr>
              </a:br>
              <a:r>
                <a:rPr lang="ru-RU" sz="12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94809" y="6832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94809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94809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94809" y="3367556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94809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94809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94809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94809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9294809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94809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94811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94811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0</a:t>
              </a: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94811" y="3367559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9294811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0" name="Прямоугольник 59"/>
            <p:cNvSpPr/>
            <p:nvPr/>
          </p:nvSpPr>
          <p:spPr>
            <a:xfrm>
              <a:off x="9294811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6</a:t>
              </a:r>
            </a:p>
          </p:txBody>
        </p:sp>
        <p:sp>
          <p:nvSpPr>
            <p:cNvPr id="61" name="Прямоугольник 60"/>
            <p:cNvSpPr/>
            <p:nvPr/>
          </p:nvSpPr>
          <p:spPr>
            <a:xfrm>
              <a:off x="9294811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2" name="Прямоугольник 61"/>
            <p:cNvSpPr/>
            <p:nvPr/>
          </p:nvSpPr>
          <p:spPr>
            <a:xfrm>
              <a:off x="9294811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9294811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64" name="Прямоугольник 63"/>
            <p:cNvSpPr/>
            <p:nvPr/>
          </p:nvSpPr>
          <p:spPr>
            <a:xfrm>
              <a:off x="9294811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cxnSp>
          <p:nvCxnSpPr>
            <p:cNvPr id="65" name="Прямая соединительная линия 64"/>
            <p:cNvCxnSpPr/>
            <p:nvPr/>
          </p:nvCxnSpPr>
          <p:spPr bwMode="auto">
            <a:xfrm>
              <a:off x="9791817" y="444500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2" name="TextBox 31"/>
          <p:cNvSpPr txBox="1"/>
          <p:nvPr/>
        </p:nvSpPr>
        <p:spPr>
          <a:xfrm>
            <a:off x="3818331" y="4518286"/>
            <a:ext cx="19457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accent1"/>
                </a:solidFill>
              </a:rPr>
              <a:t>ПАО «СИБУР Холдинг»</a:t>
            </a:r>
          </a:p>
        </p:txBody>
      </p:sp>
      <p:sp>
        <p:nvSpPr>
          <p:cNvPr id="34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5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502D23F4-C02D-4C1E-BE41-8B09B121FF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566" y="796323"/>
            <a:ext cx="2694711" cy="3638650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304876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861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фото и комментар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10"/>
          <p:cNvSpPr>
            <a:spLocks noGrp="1"/>
          </p:cNvSpPr>
          <p:nvPr>
            <p:ph type="pic" sz="quarter" idx="17" hasCustomPrompt="1"/>
          </p:nvPr>
        </p:nvSpPr>
        <p:spPr>
          <a:xfrm>
            <a:off x="255588" y="1352475"/>
            <a:ext cx="4224337" cy="1686488"/>
          </a:xfrm>
        </p:spPr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18" hasCustomPrompt="1"/>
          </p:nvPr>
        </p:nvSpPr>
        <p:spPr>
          <a:xfrm>
            <a:off x="4667663" y="1352475"/>
            <a:ext cx="4224337" cy="1686488"/>
          </a:xfrm>
        </p:spPr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3148186"/>
            <a:ext cx="4224338" cy="1511127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67663" y="3148186"/>
            <a:ext cx="4224338" cy="1511127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8622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булли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50825" y="1152000"/>
            <a:ext cx="4224338" cy="153423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667663" y="1152000"/>
            <a:ext cx="4224338" cy="153423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3175200"/>
            <a:ext cx="4224338" cy="148411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67663" y="3175200"/>
            <a:ext cx="4224338" cy="148411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25" hasCustomPrompt="1"/>
          </p:nvPr>
        </p:nvSpPr>
        <p:spPr>
          <a:xfrm>
            <a:off x="255598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type="body" idx="26" hasCustomPrompt="1"/>
          </p:nvPr>
        </p:nvSpPr>
        <p:spPr>
          <a:xfrm>
            <a:off x="250825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7" name="Текст 2"/>
          <p:cNvSpPr>
            <a:spLocks noGrp="1"/>
          </p:cNvSpPr>
          <p:nvPr>
            <p:ph type="body" idx="27" hasCustomPrompt="1"/>
          </p:nvPr>
        </p:nvSpPr>
        <p:spPr>
          <a:xfrm>
            <a:off x="4663252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92334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буллита с икон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0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82218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1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55600" y="27895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4669200" y="82218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4669200" y="27895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4377472-2581-4B39-80AE-581E00F855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55588" y="316551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B92BB08-C89E-41B5-A110-42DDF113B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67663" y="316551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D5CA91E-9AC8-4158-AA35-A1935E3551E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55588" y="119816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5B00560-4053-45AA-85D0-1C55BA3D54D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667663" y="119816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29" hasCustomPrompt="1"/>
          </p:nvPr>
        </p:nvSpPr>
        <p:spPr>
          <a:xfrm>
            <a:off x="727200" y="818732"/>
            <a:ext cx="3752373" cy="379435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139627" y="818732"/>
            <a:ext cx="3752373" cy="379435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20" name="Текст 2"/>
          <p:cNvSpPr>
            <a:spLocks noGrp="1"/>
          </p:cNvSpPr>
          <p:nvPr>
            <p:ph type="body" idx="30" hasCustomPrompt="1"/>
          </p:nvPr>
        </p:nvSpPr>
        <p:spPr>
          <a:xfrm>
            <a:off x="722427" y="2779201"/>
            <a:ext cx="3752373" cy="384163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21" name="Текст 2"/>
          <p:cNvSpPr>
            <a:spLocks noGrp="1"/>
          </p:cNvSpPr>
          <p:nvPr>
            <p:ph type="body" idx="31" hasCustomPrompt="1"/>
          </p:nvPr>
        </p:nvSpPr>
        <p:spPr>
          <a:xfrm>
            <a:off x="5134854" y="2779201"/>
            <a:ext cx="3752373" cy="384163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81725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2 столб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5ACD6DB4-4E35-4BB8-8994-407B920DEDB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2556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1DB96461-00C9-4618-B085-BC875E29CDA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35648" y="100101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Рисунок 14">
            <a:extLst>
              <a:ext uri="{FF2B5EF4-FFF2-40B4-BE49-F238E27FC236}">
                <a16:creationId xmlns:a16="http://schemas.microsoft.com/office/drawing/2014/main" id="{4CE4A8B4-2328-4C2C-A1F8-423D7177476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5560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B1AEF316-0FE1-4213-A402-302C31640C8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35648" y="153635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Рисунок 14">
            <a:extLst>
              <a:ext uri="{FF2B5EF4-FFF2-40B4-BE49-F238E27FC236}">
                <a16:creationId xmlns:a16="http://schemas.microsoft.com/office/drawing/2014/main" id="{64CD6F6C-3BD6-4982-9A80-480DEEF6FE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25560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2E2D9583-6670-486A-A170-4B7E3AAD45D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35648" y="2075971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Рисунок 14">
            <a:extLst>
              <a:ext uri="{FF2B5EF4-FFF2-40B4-BE49-F238E27FC236}">
                <a16:creationId xmlns:a16="http://schemas.microsoft.com/office/drawing/2014/main" id="{B2679DE3-113C-45B0-9FBB-84C80D90A2FD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25560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DC34E2AE-DCD6-46D1-A1D1-59D43290768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35648" y="2615589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3" name="Рисунок 14">
            <a:extLst>
              <a:ext uri="{FF2B5EF4-FFF2-40B4-BE49-F238E27FC236}">
                <a16:creationId xmlns:a16="http://schemas.microsoft.com/office/drawing/2014/main" id="{95B65BCB-FAFB-4949-9DA5-6DD965EF5DDE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5560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DF6D2344-1F01-4E57-B29B-777B243901A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35648" y="315520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Рисунок 14">
            <a:extLst>
              <a:ext uri="{FF2B5EF4-FFF2-40B4-BE49-F238E27FC236}">
                <a16:creationId xmlns:a16="http://schemas.microsoft.com/office/drawing/2014/main" id="{B338637A-8816-44B7-BB19-C9702D023FB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25560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D970B49F-E8D0-42E9-906A-E1BE3761811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35648" y="3694825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Рисунок 14">
            <a:extLst>
              <a:ext uri="{FF2B5EF4-FFF2-40B4-BE49-F238E27FC236}">
                <a16:creationId xmlns:a16="http://schemas.microsoft.com/office/drawing/2014/main" id="{DEB00967-6AE4-4995-9A85-2356A9A4899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25560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A098F644-4A32-41C9-AB95-DC7B1A2CBBA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35648" y="423444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9" name="Рисунок 14">
            <a:extLst>
              <a:ext uri="{FF2B5EF4-FFF2-40B4-BE49-F238E27FC236}">
                <a16:creationId xmlns:a16="http://schemas.microsoft.com/office/drawing/2014/main" id="{52790202-17E3-482C-BBC7-0FDC08AA8D93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4821878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0596A83C-CB24-431E-B6CA-8EAEEF87F2B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301926" y="100101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1" name="Рисунок 14">
            <a:extLst>
              <a:ext uri="{FF2B5EF4-FFF2-40B4-BE49-F238E27FC236}">
                <a16:creationId xmlns:a16="http://schemas.microsoft.com/office/drawing/2014/main" id="{98CCCF76-0F0D-4468-B476-98F7E5F193DB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4821878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BA14B70F-4E5F-4E68-A232-DB29D948250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301926" y="153635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3" name="Рисунок 14">
            <a:extLst>
              <a:ext uri="{FF2B5EF4-FFF2-40B4-BE49-F238E27FC236}">
                <a16:creationId xmlns:a16="http://schemas.microsoft.com/office/drawing/2014/main" id="{B12EAE96-E1E7-4AEA-BE1F-929DC6D7DACD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4821878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A9563D9A-CED2-4ECA-8A37-BF67DAC51F47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5301926" y="2075971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5" name="Рисунок 14">
            <a:extLst>
              <a:ext uri="{FF2B5EF4-FFF2-40B4-BE49-F238E27FC236}">
                <a16:creationId xmlns:a16="http://schemas.microsoft.com/office/drawing/2014/main" id="{F9F1D5B1-7350-461F-BEC4-A02D9209AAC8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821878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6" name="Text Placeholder 7">
            <a:extLst>
              <a:ext uri="{FF2B5EF4-FFF2-40B4-BE49-F238E27FC236}">
                <a16:creationId xmlns:a16="http://schemas.microsoft.com/office/drawing/2014/main" id="{0FB3655B-D02C-4974-B8BB-52053EF46FA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5301926" y="2615589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7" name="Рисунок 14">
            <a:extLst>
              <a:ext uri="{FF2B5EF4-FFF2-40B4-BE49-F238E27FC236}">
                <a16:creationId xmlns:a16="http://schemas.microsoft.com/office/drawing/2014/main" id="{DE3ECA66-605C-4EA2-80FD-5D3DD5A9751C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821878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EDA554DC-64B4-4829-893F-1BE738AADB2B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5301926" y="315520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9" name="Рисунок 14">
            <a:extLst>
              <a:ext uri="{FF2B5EF4-FFF2-40B4-BE49-F238E27FC236}">
                <a16:creationId xmlns:a16="http://schemas.microsoft.com/office/drawing/2014/main" id="{FC35F83D-02DD-4749-A458-B5EBA5DEC17D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821878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B76B11AD-817F-47DD-B055-F17D2333517A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5301926" y="3694825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1" name="Рисунок 14">
            <a:extLst>
              <a:ext uri="{FF2B5EF4-FFF2-40B4-BE49-F238E27FC236}">
                <a16:creationId xmlns:a16="http://schemas.microsoft.com/office/drawing/2014/main" id="{D6937FE5-2DC9-467B-B2CB-1E208EC03460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821878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30E2FE77-DADE-42E6-BD8F-386BE6C5C23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301926" y="423444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597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низу + текст в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55601" y="1324799"/>
            <a:ext cx="4247819" cy="170494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58377" y="1324800"/>
            <a:ext cx="4247819" cy="170494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50596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3124200"/>
            <a:ext cx="9144000" cy="20193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1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2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166320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976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818733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2821762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4662889" y="818733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4662889" y="2821762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9024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000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178752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25" hasCustomPrompt="1"/>
          </p:nvPr>
        </p:nvSpPr>
        <p:spPr>
          <a:xfrm>
            <a:off x="255598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000181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4662889" y="1178752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4662889" y="3000181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5110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2696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024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166925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25" hasCustomPrompt="1"/>
          </p:nvPr>
        </p:nvSpPr>
        <p:spPr>
          <a:xfrm>
            <a:off x="255598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type="body" idx="26" hasCustomPrompt="1"/>
          </p:nvPr>
        </p:nvSpPr>
        <p:spPr>
          <a:xfrm>
            <a:off x="250825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7" name="Текст 2"/>
          <p:cNvSpPr>
            <a:spLocks noGrp="1"/>
          </p:cNvSpPr>
          <p:nvPr>
            <p:ph type="body" idx="27" hasCustomPrompt="1"/>
          </p:nvPr>
        </p:nvSpPr>
        <p:spPr>
          <a:xfrm>
            <a:off x="4663252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169954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4662889" y="1166925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4662889" y="3169954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0905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низу + текст в три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205800" y="1267482"/>
            <a:ext cx="2750196" cy="185671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1267482"/>
            <a:ext cx="2750196" cy="185671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156000" y="1267482"/>
            <a:ext cx="2750196" cy="185671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50596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3124200"/>
            <a:ext cx="9144000" cy="20193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1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3185333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 smtClean="0"/>
              <a:t>Название буллита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6115067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 smtClean="0"/>
              <a:t>Название булли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10641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раздела + заголовки +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5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205799" y="1218109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156000" y="1218109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588" y="843281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205799" y="843281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9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6156000" y="843281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55599" y="1218109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1708984"/>
            <a:ext cx="2750196" cy="29492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205799" y="1708984"/>
            <a:ext cx="2750196" cy="29492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56000" y="1708984"/>
            <a:ext cx="2750196" cy="29492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2663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новое фото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 bwMode="auto">
          <a:xfrm>
            <a:off x="0" y="0"/>
            <a:ext cx="9144000" cy="5144400"/>
          </a:xfrm>
          <a:prstGeom prst="rect">
            <a:avLst/>
          </a:prstGeom>
          <a:gradFill>
            <a:gsLst>
              <a:gs pos="2020">
                <a:schemeClr val="accent1">
                  <a:alpha val="85000"/>
                </a:schemeClr>
              </a:gs>
              <a:gs pos="35000">
                <a:srgbClr val="008C95">
                  <a:alpha val="55000"/>
                </a:srgbClr>
              </a:gs>
              <a:gs pos="74000">
                <a:schemeClr val="accent1">
                  <a:alpha val="36000"/>
                </a:schemeClr>
              </a:gs>
              <a:gs pos="100000">
                <a:schemeClr val="accent1">
                  <a:alpha val="10000"/>
                </a:schemeClr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90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Прямоугольник 6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051130" y="1400495"/>
            <a:ext cx="7216570" cy="1441767"/>
          </a:xfrm>
          <a:effectLst/>
        </p:spPr>
        <p:txBody>
          <a:bodyPr>
            <a:normAutofit/>
          </a:bodyPr>
          <a:lstStyle>
            <a:lvl1pPr>
              <a:defRPr lang="ru-RU" sz="32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1050927" y="3149762"/>
            <a:ext cx="7216773" cy="792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1050926" y="4140804"/>
            <a:ext cx="7216773" cy="540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533" y="361700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027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диаграммы с комментар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3300700"/>
            <a:ext cx="2775758" cy="135757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185333" y="3300700"/>
            <a:ext cx="2775758" cy="135757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14705" y="3300700"/>
            <a:ext cx="2775758" cy="135757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55589" y="1309689"/>
            <a:ext cx="2777171" cy="1897024"/>
          </a:xfrm>
        </p:spPr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3185333" y="1309689"/>
            <a:ext cx="2777171" cy="1897024"/>
          </a:xfrm>
        </p:spPr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3185333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3" name="Диаграмма 13"/>
          <p:cNvSpPr>
            <a:spLocks noGrp="1"/>
          </p:cNvSpPr>
          <p:nvPr>
            <p:ph type="chart" sz="quarter" idx="22" hasCustomPrompt="1"/>
          </p:nvPr>
        </p:nvSpPr>
        <p:spPr>
          <a:xfrm>
            <a:off x="6114705" y="1309689"/>
            <a:ext cx="2777171" cy="1897024"/>
          </a:xfrm>
        </p:spPr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6115067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</p:spTree>
    <p:extLst>
      <p:ext uri="{BB962C8B-B14F-4D97-AF65-F5344CB8AC3E}">
        <p14:creationId xmlns:p14="http://schemas.microsoft.com/office/powerpoint/2010/main" val="2871435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sz="quarter" idx="19" hasCustomPrompt="1"/>
          </p:nvPr>
        </p:nvSpPr>
        <p:spPr>
          <a:xfrm>
            <a:off x="255588" y="1332000"/>
            <a:ext cx="2735262" cy="16272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4" name="Рисунок 12"/>
          <p:cNvSpPr>
            <a:spLocks noGrp="1"/>
          </p:cNvSpPr>
          <p:nvPr>
            <p:ph type="pic" sz="quarter" idx="20" hasCustomPrompt="1"/>
          </p:nvPr>
        </p:nvSpPr>
        <p:spPr>
          <a:xfrm>
            <a:off x="3206538" y="1332000"/>
            <a:ext cx="2735262" cy="16272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2"/>
          <p:cNvSpPr>
            <a:spLocks noGrp="1"/>
          </p:cNvSpPr>
          <p:nvPr>
            <p:ph type="pic" sz="quarter" idx="21" hasCustomPrompt="1"/>
          </p:nvPr>
        </p:nvSpPr>
        <p:spPr>
          <a:xfrm>
            <a:off x="6156738" y="1332000"/>
            <a:ext cx="2735262" cy="16272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2968184"/>
            <a:ext cx="2750196" cy="16900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205799" y="2968184"/>
            <a:ext cx="2750196" cy="16900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56000" y="2968184"/>
            <a:ext cx="2750196" cy="16900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205799" y="84080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156000" y="84080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55599" y="840808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2301644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Шесть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320072"/>
            <a:ext cx="2750196" cy="13982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205799" y="1320072"/>
            <a:ext cx="2750196" cy="13982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156000" y="1320072"/>
            <a:ext cx="2750196" cy="13982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3293109"/>
            <a:ext cx="2750196" cy="13651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205799" y="3293109"/>
            <a:ext cx="2750196" cy="13651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56000" y="3293109"/>
            <a:ext cx="2750196" cy="13651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205799" y="281338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156000" y="281338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55599" y="2813388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3205799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6156000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55599" y="828762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1219455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Шесть буллитов +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211896"/>
            <a:ext cx="2750196" cy="1506470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205799" y="1211896"/>
            <a:ext cx="2750196" cy="1506470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156000" y="1211896"/>
            <a:ext cx="2750196" cy="1506470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3187495"/>
            <a:ext cx="2750196" cy="1470782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205799" y="3187495"/>
            <a:ext cx="2750196" cy="1470782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56000" y="3187495"/>
            <a:ext cx="2750196" cy="1470782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2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82988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55600" y="280314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205800" y="82988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205800" y="280314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5" hasCustomPrompt="1"/>
          </p:nvPr>
        </p:nvSpPr>
        <p:spPr>
          <a:xfrm>
            <a:off x="6156000" y="82988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6" hasCustomPrompt="1"/>
          </p:nvPr>
        </p:nvSpPr>
        <p:spPr>
          <a:xfrm>
            <a:off x="6156000" y="280314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652199" y="2802874"/>
            <a:ext cx="2289600" cy="384622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602400" y="2802874"/>
            <a:ext cx="2289600" cy="384622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703761" y="2802874"/>
            <a:ext cx="2298639" cy="384622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7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3652199" y="828198"/>
            <a:ext cx="2289600" cy="38369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8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6602400" y="828198"/>
            <a:ext cx="2289600" cy="38369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9" name="Текст 2"/>
          <p:cNvSpPr>
            <a:spLocks noGrp="1"/>
          </p:cNvSpPr>
          <p:nvPr>
            <p:ph type="body" idx="41" hasCustomPrompt="1"/>
          </p:nvPr>
        </p:nvSpPr>
        <p:spPr>
          <a:xfrm>
            <a:off x="703761" y="828198"/>
            <a:ext cx="2298639" cy="38369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1986476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3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047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818733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2821762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3205799" y="818733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3205799" y="2821762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Content Placeholder 6"/>
          <p:cNvSpPr>
            <a:spLocks noGrp="1"/>
          </p:cNvSpPr>
          <p:nvPr>
            <p:ph sz="quarter" idx="38"/>
          </p:nvPr>
        </p:nvSpPr>
        <p:spPr>
          <a:xfrm>
            <a:off x="6156000" y="818733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Content Placeholder 6"/>
          <p:cNvSpPr>
            <a:spLocks noGrp="1"/>
          </p:cNvSpPr>
          <p:nvPr>
            <p:ph sz="quarter" idx="39"/>
          </p:nvPr>
        </p:nvSpPr>
        <p:spPr>
          <a:xfrm>
            <a:off x="6156000" y="2821762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2761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3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072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2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3205799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6156000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55599" y="828762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27751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01648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3205799" y="127751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3205799" y="301648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6156000" y="127751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6156000" y="301648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129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3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096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6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205799" y="281338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156000" y="281338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55599" y="2813388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3205799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6156000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55599" y="828762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277513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3205799" y="1277513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3205799" y="3280542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6156000" y="1277513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6156000" y="3280542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3248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раздела + заголовки +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1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462400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2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4669200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6875999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588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462400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4669200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6875999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4195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диаграммы с комментар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55589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2461064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Диаграмма 13"/>
          <p:cNvSpPr>
            <a:spLocks noGrp="1"/>
          </p:cNvSpPr>
          <p:nvPr>
            <p:ph type="chart" sz="quarter" idx="22" hasCustomPrompt="1"/>
          </p:nvPr>
        </p:nvSpPr>
        <p:spPr>
          <a:xfrm>
            <a:off x="4666539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Диаграмма 13"/>
          <p:cNvSpPr>
            <a:spLocks noGrp="1"/>
          </p:cNvSpPr>
          <p:nvPr>
            <p:ph type="chart" sz="quarter" idx="25" hasCustomPrompt="1"/>
          </p:nvPr>
        </p:nvSpPr>
        <p:spPr>
          <a:xfrm>
            <a:off x="6872013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2">
            <a:extLst>
              <a:ext uri="{FF2B5EF4-FFF2-40B4-BE49-F238E27FC236}">
                <a16:creationId xmlns:a16="http://schemas.microsoft.com/office/drawing/2014/main" id="{156977D3-B49F-459C-8A95-0201776EC89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55599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01672133-F7F2-4D49-84AE-FB4BF84CCFBB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2462400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89913B83-2D6F-4502-B6BF-D6C17DA85AD9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4669200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id="{FCCA6A8A-8972-4627-8588-AAA663EB57E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6875999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2653012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462400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4669200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6875999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27772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фоновое фото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34172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178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7670510" y="331723"/>
            <a:ext cx="1159938" cy="360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0" y="984813"/>
            <a:ext cx="5291667" cy="3241289"/>
          </a:xfrm>
          <a:prstGeom prst="rect">
            <a:avLst/>
          </a:prstGeom>
          <a:gradFill>
            <a:gsLst>
              <a:gs pos="2020">
                <a:schemeClr val="accent1">
                  <a:alpha val="85000"/>
                </a:schemeClr>
              </a:gs>
              <a:gs pos="35000">
                <a:srgbClr val="008C95">
                  <a:alpha val="77000"/>
                </a:srgbClr>
              </a:gs>
              <a:gs pos="74000">
                <a:schemeClr val="accent1">
                  <a:alpha val="68000"/>
                </a:schemeClr>
              </a:gs>
              <a:gs pos="100000">
                <a:schemeClr val="accent1">
                  <a:alpha val="50000"/>
                </a:schemeClr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2540" y="1210582"/>
            <a:ext cx="4645860" cy="1441767"/>
          </a:xfrm>
          <a:effectLst/>
        </p:spPr>
        <p:txBody>
          <a:bodyPr>
            <a:normAutofit/>
          </a:bodyPr>
          <a:lstStyle>
            <a:lvl1pPr>
              <a:defRPr lang="ru-RU" sz="28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32338" y="2737470"/>
            <a:ext cx="4645990" cy="792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32337" y="3614591"/>
            <a:ext cx="4645990" cy="540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820" y="428923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206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фото +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7"/>
          </p:nvPr>
        </p:nvSpPr>
        <p:spPr>
          <a:xfrm>
            <a:off x="255701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18"/>
          </p:nvPr>
        </p:nvSpPr>
        <p:spPr>
          <a:xfrm>
            <a:off x="2466540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3" name="Рисунок 10"/>
          <p:cNvSpPr>
            <a:spLocks noGrp="1"/>
          </p:cNvSpPr>
          <p:nvPr>
            <p:ph type="pic" sz="quarter" idx="19"/>
          </p:nvPr>
        </p:nvSpPr>
        <p:spPr>
          <a:xfrm>
            <a:off x="4669200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20"/>
          </p:nvPr>
        </p:nvSpPr>
        <p:spPr>
          <a:xfrm>
            <a:off x="6876100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9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2555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4624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41" hasCustomPrompt="1"/>
          </p:nvPr>
        </p:nvSpPr>
        <p:spPr>
          <a:xfrm>
            <a:off x="46692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42" hasCustomPrompt="1"/>
          </p:nvPr>
        </p:nvSpPr>
        <p:spPr>
          <a:xfrm>
            <a:off x="68759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755045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3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462400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462400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4669200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4669200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6870050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6870050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402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67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24624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46692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68759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462400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462400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4669200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4669200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6870050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6870050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7979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0740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120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24624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46692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68759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462400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462400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4669200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4669200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4" name="Текст 2"/>
          <p:cNvSpPr>
            <a:spLocks noGrp="1"/>
          </p:cNvSpPr>
          <p:nvPr>
            <p:ph type="body" idx="47" hasCustomPrompt="1"/>
          </p:nvPr>
        </p:nvSpPr>
        <p:spPr>
          <a:xfrm>
            <a:off x="255599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5" name="Текст 2"/>
          <p:cNvSpPr>
            <a:spLocks noGrp="1"/>
          </p:cNvSpPr>
          <p:nvPr>
            <p:ph type="body" idx="48" hasCustomPrompt="1"/>
          </p:nvPr>
        </p:nvSpPr>
        <p:spPr>
          <a:xfrm>
            <a:off x="2462400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6" name="Текст 2"/>
          <p:cNvSpPr>
            <a:spLocks noGrp="1"/>
          </p:cNvSpPr>
          <p:nvPr>
            <p:ph type="body" idx="49" hasCustomPrompt="1"/>
          </p:nvPr>
        </p:nvSpPr>
        <p:spPr>
          <a:xfrm>
            <a:off x="4669200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7" name="Текст 2"/>
          <p:cNvSpPr>
            <a:spLocks noGrp="1"/>
          </p:cNvSpPr>
          <p:nvPr>
            <p:ph type="body" idx="50" hasCustomPrompt="1"/>
          </p:nvPr>
        </p:nvSpPr>
        <p:spPr>
          <a:xfrm>
            <a:off x="6875999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6870050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6870050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60196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5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188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8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2009405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3763212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5517019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009405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009405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3763212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3763212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5517019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5517019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4" name="Текст 2"/>
          <p:cNvSpPr>
            <a:spLocks noGrp="1"/>
          </p:cNvSpPr>
          <p:nvPr>
            <p:ph type="body" idx="53" hasCustomPrompt="1"/>
          </p:nvPr>
        </p:nvSpPr>
        <p:spPr>
          <a:xfrm>
            <a:off x="7270825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0" name="Текст 2"/>
          <p:cNvSpPr>
            <a:spLocks noGrp="1"/>
          </p:cNvSpPr>
          <p:nvPr>
            <p:ph type="body" idx="54" hasCustomPrompt="1"/>
          </p:nvPr>
        </p:nvSpPr>
        <p:spPr>
          <a:xfrm>
            <a:off x="255598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1" name="Текст 2"/>
          <p:cNvSpPr>
            <a:spLocks noGrp="1"/>
          </p:cNvSpPr>
          <p:nvPr>
            <p:ph type="body" idx="55" hasCustomPrompt="1"/>
          </p:nvPr>
        </p:nvSpPr>
        <p:spPr>
          <a:xfrm>
            <a:off x="2009405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2" name="Текст 2"/>
          <p:cNvSpPr>
            <a:spLocks noGrp="1"/>
          </p:cNvSpPr>
          <p:nvPr>
            <p:ph type="body" idx="56" hasCustomPrompt="1"/>
          </p:nvPr>
        </p:nvSpPr>
        <p:spPr>
          <a:xfrm>
            <a:off x="3763212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3" name="Текст 2"/>
          <p:cNvSpPr>
            <a:spLocks noGrp="1"/>
          </p:cNvSpPr>
          <p:nvPr>
            <p:ph type="body" idx="57" hasCustomPrompt="1"/>
          </p:nvPr>
        </p:nvSpPr>
        <p:spPr>
          <a:xfrm>
            <a:off x="5517019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4" name="Текст 2"/>
          <p:cNvSpPr>
            <a:spLocks noGrp="1"/>
          </p:cNvSpPr>
          <p:nvPr>
            <p:ph type="body" idx="58" hasCustomPrompt="1"/>
          </p:nvPr>
        </p:nvSpPr>
        <p:spPr>
          <a:xfrm>
            <a:off x="7270825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5" name="Content Placeholder 6"/>
          <p:cNvSpPr>
            <a:spLocks noGrp="1"/>
          </p:cNvSpPr>
          <p:nvPr>
            <p:ph sz="quarter" idx="59"/>
          </p:nvPr>
        </p:nvSpPr>
        <p:spPr>
          <a:xfrm>
            <a:off x="7273175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6" name="Content Placeholder 6"/>
          <p:cNvSpPr>
            <a:spLocks noGrp="1"/>
          </p:cNvSpPr>
          <p:nvPr>
            <p:ph sz="quarter" idx="60"/>
          </p:nvPr>
        </p:nvSpPr>
        <p:spPr>
          <a:xfrm>
            <a:off x="7273175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08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6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212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170927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316295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461663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170927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170927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316295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316295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461663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461663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4" name="Текст 2"/>
          <p:cNvSpPr>
            <a:spLocks noGrp="1"/>
          </p:cNvSpPr>
          <p:nvPr>
            <p:ph type="body" idx="53" hasCustomPrompt="1"/>
          </p:nvPr>
        </p:nvSpPr>
        <p:spPr>
          <a:xfrm>
            <a:off x="607031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0" name="Текст 2"/>
          <p:cNvSpPr>
            <a:spLocks noGrp="1"/>
          </p:cNvSpPr>
          <p:nvPr>
            <p:ph type="body" idx="54" hasCustomPrompt="1"/>
          </p:nvPr>
        </p:nvSpPr>
        <p:spPr>
          <a:xfrm>
            <a:off x="25559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1" name="Текст 2"/>
          <p:cNvSpPr>
            <a:spLocks noGrp="1"/>
          </p:cNvSpPr>
          <p:nvPr>
            <p:ph type="body" idx="55" hasCustomPrompt="1"/>
          </p:nvPr>
        </p:nvSpPr>
        <p:spPr>
          <a:xfrm>
            <a:off x="170927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2" name="Текст 2"/>
          <p:cNvSpPr>
            <a:spLocks noGrp="1"/>
          </p:cNvSpPr>
          <p:nvPr>
            <p:ph type="body" idx="56" hasCustomPrompt="1"/>
          </p:nvPr>
        </p:nvSpPr>
        <p:spPr>
          <a:xfrm>
            <a:off x="316295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3" name="Текст 2"/>
          <p:cNvSpPr>
            <a:spLocks noGrp="1"/>
          </p:cNvSpPr>
          <p:nvPr>
            <p:ph type="body" idx="57" hasCustomPrompt="1"/>
          </p:nvPr>
        </p:nvSpPr>
        <p:spPr>
          <a:xfrm>
            <a:off x="461663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4" name="Текст 2"/>
          <p:cNvSpPr>
            <a:spLocks noGrp="1"/>
          </p:cNvSpPr>
          <p:nvPr>
            <p:ph type="body" idx="58" hasCustomPrompt="1"/>
          </p:nvPr>
        </p:nvSpPr>
        <p:spPr>
          <a:xfrm>
            <a:off x="607031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5" name="Content Placeholder 6"/>
          <p:cNvSpPr>
            <a:spLocks noGrp="1"/>
          </p:cNvSpPr>
          <p:nvPr>
            <p:ph sz="quarter" idx="59"/>
          </p:nvPr>
        </p:nvSpPr>
        <p:spPr>
          <a:xfrm>
            <a:off x="607031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6" name="Content Placeholder 6"/>
          <p:cNvSpPr>
            <a:spLocks noGrp="1"/>
          </p:cNvSpPr>
          <p:nvPr>
            <p:ph sz="quarter" idx="60"/>
          </p:nvPr>
        </p:nvSpPr>
        <p:spPr>
          <a:xfrm>
            <a:off x="607031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4" name="Текст 2"/>
          <p:cNvSpPr>
            <a:spLocks noGrp="1"/>
          </p:cNvSpPr>
          <p:nvPr>
            <p:ph type="body" idx="61" hasCustomPrompt="1"/>
          </p:nvPr>
        </p:nvSpPr>
        <p:spPr>
          <a:xfrm>
            <a:off x="7524000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5" name="Текст 2"/>
          <p:cNvSpPr>
            <a:spLocks noGrp="1"/>
          </p:cNvSpPr>
          <p:nvPr>
            <p:ph type="body" idx="62" hasCustomPrompt="1"/>
          </p:nvPr>
        </p:nvSpPr>
        <p:spPr>
          <a:xfrm>
            <a:off x="7524000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6" name="Content Placeholder 6"/>
          <p:cNvSpPr>
            <a:spLocks noGrp="1"/>
          </p:cNvSpPr>
          <p:nvPr>
            <p:ph sz="quarter" idx="63"/>
          </p:nvPr>
        </p:nvSpPr>
        <p:spPr>
          <a:xfrm>
            <a:off x="7524000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7" name="Content Placeholder 6"/>
          <p:cNvSpPr>
            <a:spLocks noGrp="1"/>
          </p:cNvSpPr>
          <p:nvPr>
            <p:ph sz="quarter" idx="64"/>
          </p:nvPr>
        </p:nvSpPr>
        <p:spPr>
          <a:xfrm>
            <a:off x="7524000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347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шага процес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4623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46691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68759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</p:spTree>
    <p:extLst>
      <p:ext uri="{BB962C8B-B14F-4D97-AF65-F5344CB8AC3E}">
        <p14:creationId xmlns:p14="http://schemas.microsoft.com/office/powerpoint/2010/main" val="815372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шагов процес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22333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1996236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3744793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493350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14" name="Текст 2"/>
          <p:cNvSpPr>
            <a:spLocks noGrp="1"/>
          </p:cNvSpPr>
          <p:nvPr>
            <p:ph type="body" idx="21" hasCustomPrompt="1"/>
          </p:nvPr>
        </p:nvSpPr>
        <p:spPr>
          <a:xfrm>
            <a:off x="7233987" y="828760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004157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5545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49335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7011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оцесс по кругу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7" name="Арка 6"/>
          <p:cNvSpPr/>
          <p:nvPr/>
        </p:nvSpPr>
        <p:spPr bwMode="auto">
          <a:xfrm>
            <a:off x="3188465" y="1318908"/>
            <a:ext cx="2799399" cy="2799402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Арка 7"/>
          <p:cNvSpPr/>
          <p:nvPr/>
        </p:nvSpPr>
        <p:spPr bwMode="auto">
          <a:xfrm rot="5400000">
            <a:off x="3188463" y="1318910"/>
            <a:ext cx="2799402" cy="2799399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Арка 8"/>
          <p:cNvSpPr/>
          <p:nvPr/>
        </p:nvSpPr>
        <p:spPr bwMode="auto">
          <a:xfrm rot="10800000">
            <a:off x="3188465" y="1318908"/>
            <a:ext cx="2799399" cy="2799402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5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800" b="1">
              <a:latin typeface="Arial" charset="0"/>
            </a:endParaRPr>
          </a:p>
        </p:txBody>
      </p:sp>
      <p:sp>
        <p:nvSpPr>
          <p:cNvPr id="10" name="Арка 9"/>
          <p:cNvSpPr/>
          <p:nvPr/>
        </p:nvSpPr>
        <p:spPr bwMode="auto">
          <a:xfrm rot="16200000">
            <a:off x="3188463" y="1318910"/>
            <a:ext cx="2799402" cy="2799399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Нашивка 14"/>
          <p:cNvSpPr/>
          <p:nvPr/>
        </p:nvSpPr>
        <p:spPr bwMode="auto">
          <a:xfrm>
            <a:off x="4455098" y="1318908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Нашивка 15"/>
          <p:cNvSpPr/>
          <p:nvPr/>
        </p:nvSpPr>
        <p:spPr bwMode="auto">
          <a:xfrm rot="5400000">
            <a:off x="5663864" y="2516304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Нашивка 16"/>
          <p:cNvSpPr/>
          <p:nvPr/>
        </p:nvSpPr>
        <p:spPr bwMode="auto">
          <a:xfrm flipH="1">
            <a:off x="4482394" y="3722311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Нашивка 17"/>
          <p:cNvSpPr/>
          <p:nvPr/>
        </p:nvSpPr>
        <p:spPr bwMode="auto">
          <a:xfrm rot="16200000">
            <a:off x="3253640" y="2530437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3"/>
          </p:nvPr>
        </p:nvSpPr>
        <p:spPr>
          <a:xfrm>
            <a:off x="255588" y="1071831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19"/>
          <p:cNvSpPr>
            <a:spLocks noGrp="1"/>
          </p:cNvSpPr>
          <p:nvPr>
            <p:ph type="body" sz="quarter" idx="14"/>
          </p:nvPr>
        </p:nvSpPr>
        <p:spPr>
          <a:xfrm>
            <a:off x="255588" y="2839718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19"/>
          <p:cNvSpPr>
            <a:spLocks noGrp="1"/>
          </p:cNvSpPr>
          <p:nvPr>
            <p:ph type="body" sz="quarter" idx="15"/>
          </p:nvPr>
        </p:nvSpPr>
        <p:spPr>
          <a:xfrm>
            <a:off x="6191482" y="1071831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19"/>
          <p:cNvSpPr>
            <a:spLocks noGrp="1"/>
          </p:cNvSpPr>
          <p:nvPr>
            <p:ph type="body" sz="quarter" idx="16"/>
          </p:nvPr>
        </p:nvSpPr>
        <p:spPr>
          <a:xfrm>
            <a:off x="6191482" y="2839718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E97B8803-CFBE-46D2-94F3-1E13B37C26DB}"/>
              </a:ext>
            </a:extLst>
          </p:cNvPr>
          <p:cNvSpPr/>
          <p:nvPr/>
        </p:nvSpPr>
        <p:spPr bwMode="auto">
          <a:xfrm>
            <a:off x="2995684" y="1501255"/>
            <a:ext cx="630960" cy="173509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32EE881-8F18-4976-B14A-133BBEF93D70}"/>
              </a:ext>
            </a:extLst>
          </p:cNvPr>
          <p:cNvSpPr/>
          <p:nvPr/>
        </p:nvSpPr>
        <p:spPr bwMode="auto">
          <a:xfrm flipV="1">
            <a:off x="2995684" y="3782109"/>
            <a:ext cx="721056" cy="178463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85FFE1BE-F468-41E4-AC57-73F3A5F795C0}"/>
              </a:ext>
            </a:extLst>
          </p:cNvPr>
          <p:cNvSpPr/>
          <p:nvPr/>
        </p:nvSpPr>
        <p:spPr bwMode="auto">
          <a:xfrm flipH="1">
            <a:off x="5591864" y="1501255"/>
            <a:ext cx="591174" cy="213654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E57AF606-9A31-48E6-BA8D-C5D2AD7F0440}"/>
              </a:ext>
            </a:extLst>
          </p:cNvPr>
          <p:cNvSpPr/>
          <p:nvPr/>
        </p:nvSpPr>
        <p:spPr bwMode="auto">
          <a:xfrm flipH="1" flipV="1">
            <a:off x="5500048" y="3782111"/>
            <a:ext cx="682990" cy="178462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10080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оцесс по кругу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grpSp>
        <p:nvGrpSpPr>
          <p:cNvPr id="6" name="Группа 5"/>
          <p:cNvGrpSpPr/>
          <p:nvPr/>
        </p:nvGrpSpPr>
        <p:grpSpPr>
          <a:xfrm rot="1829240">
            <a:off x="3303218" y="1554182"/>
            <a:ext cx="2637368" cy="2569106"/>
            <a:chOff x="62794" y="1435622"/>
            <a:chExt cx="2880788" cy="2806226"/>
          </a:xfrm>
        </p:grpSpPr>
        <p:sp>
          <p:nvSpPr>
            <p:cNvPr id="7" name="Арка 6"/>
            <p:cNvSpPr/>
            <p:nvPr/>
          </p:nvSpPr>
          <p:spPr bwMode="auto">
            <a:xfrm rot="16200000">
              <a:off x="96913" y="1442446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Арка 7"/>
            <p:cNvSpPr/>
            <p:nvPr/>
          </p:nvSpPr>
          <p:spPr bwMode="auto">
            <a:xfrm rot="-1800000">
              <a:off x="97612" y="1435622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Арка 8"/>
            <p:cNvSpPr/>
            <p:nvPr/>
          </p:nvSpPr>
          <p:spPr bwMode="auto">
            <a:xfrm rot="1800000">
              <a:off x="104438" y="1435622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0" name="Арка 9"/>
            <p:cNvSpPr/>
            <p:nvPr/>
          </p:nvSpPr>
          <p:spPr bwMode="auto">
            <a:xfrm rot="5400000">
              <a:off x="107411" y="1442447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1" name="Арка 10"/>
            <p:cNvSpPr/>
            <p:nvPr/>
          </p:nvSpPr>
          <p:spPr bwMode="auto">
            <a:xfrm rot="9000000">
              <a:off x="104437" y="1442447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Арка 11"/>
            <p:cNvSpPr/>
            <p:nvPr/>
          </p:nvSpPr>
          <p:spPr bwMode="auto">
            <a:xfrm rot="12600000">
              <a:off x="96912" y="1442447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Нашивка 26"/>
            <p:cNvSpPr/>
            <p:nvPr/>
          </p:nvSpPr>
          <p:spPr bwMode="auto">
            <a:xfrm rot="-1800000">
              <a:off x="736085" y="1578379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Нашивка 27"/>
            <p:cNvSpPr/>
            <p:nvPr/>
          </p:nvSpPr>
          <p:spPr bwMode="auto">
            <a:xfrm rot="1800000">
              <a:off x="1984852" y="1573617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Нашивка 28"/>
            <p:cNvSpPr/>
            <p:nvPr/>
          </p:nvSpPr>
          <p:spPr bwMode="auto">
            <a:xfrm rot="5400000">
              <a:off x="2619582" y="2644146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6" name="Нашивка 29"/>
            <p:cNvSpPr/>
            <p:nvPr/>
          </p:nvSpPr>
          <p:spPr bwMode="auto">
            <a:xfrm rot="9000000">
              <a:off x="1984852" y="3716435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7" name="Нашивка 30"/>
            <p:cNvSpPr/>
            <p:nvPr/>
          </p:nvSpPr>
          <p:spPr bwMode="auto">
            <a:xfrm rot="16200000">
              <a:off x="134794" y="2637322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8" name="Нашивка 31"/>
            <p:cNvSpPr/>
            <p:nvPr/>
          </p:nvSpPr>
          <p:spPr bwMode="auto">
            <a:xfrm rot="-9000000">
              <a:off x="763382" y="3707324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cxnSp>
        <p:nvCxnSpPr>
          <p:cNvPr id="20" name="Соединительная линия уступом 19"/>
          <p:cNvCxnSpPr>
            <a:endCxn id="38" idx="3"/>
          </p:cNvCxnSpPr>
          <p:nvPr/>
        </p:nvCxnSpPr>
        <p:spPr bwMode="auto">
          <a:xfrm rot="10800000" flipV="1">
            <a:off x="2558715" y="3655636"/>
            <a:ext cx="1130097" cy="465917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21" name="Соединительная линия уступом 20"/>
          <p:cNvCxnSpPr>
            <a:endCxn id="36" idx="3"/>
          </p:cNvCxnSpPr>
          <p:nvPr/>
        </p:nvCxnSpPr>
        <p:spPr bwMode="auto">
          <a:xfrm rot="10800000">
            <a:off x="2558714" y="1473326"/>
            <a:ext cx="1127608" cy="531002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36" name="Текст 35"/>
          <p:cNvSpPr>
            <a:spLocks noGrp="1"/>
          </p:cNvSpPr>
          <p:nvPr>
            <p:ph type="body" sz="quarter" idx="25"/>
          </p:nvPr>
        </p:nvSpPr>
        <p:spPr>
          <a:xfrm>
            <a:off x="255600" y="878807"/>
            <a:ext cx="2303114" cy="1189038"/>
          </a:xfrm>
        </p:spPr>
        <p:txBody>
          <a:bodyPr lIns="0" tIns="36000" rIns="72000" bIns="36000" anchor="ctr"/>
          <a:lstStyle>
            <a:lvl1pPr algn="r">
              <a:defRPr sz="1200"/>
            </a:lvl1pPr>
            <a:lvl2pPr algn="r">
              <a:defRPr sz="1100"/>
            </a:lvl2pPr>
            <a:lvl3pPr algn="r">
              <a:defRPr sz="900"/>
            </a:lvl3pPr>
            <a:lvl4pPr algn="r">
              <a:defRPr sz="900"/>
            </a:lvl4pPr>
            <a:lvl5pPr algn="r"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7" name="Текст 35"/>
          <p:cNvSpPr>
            <a:spLocks noGrp="1"/>
          </p:cNvSpPr>
          <p:nvPr>
            <p:ph type="body" sz="quarter" idx="26"/>
          </p:nvPr>
        </p:nvSpPr>
        <p:spPr>
          <a:xfrm>
            <a:off x="255600" y="2202921"/>
            <a:ext cx="2303114" cy="1189038"/>
          </a:xfrm>
        </p:spPr>
        <p:txBody>
          <a:bodyPr lIns="0" tIns="36000" rIns="72000" bIns="36000" anchor="ctr"/>
          <a:lstStyle>
            <a:lvl1pPr algn="r">
              <a:defRPr sz="1200"/>
            </a:lvl1pPr>
            <a:lvl2pPr algn="r">
              <a:defRPr sz="1100"/>
            </a:lvl2pPr>
            <a:lvl3pPr algn="r">
              <a:defRPr sz="900"/>
            </a:lvl3pPr>
            <a:lvl4pPr algn="r">
              <a:defRPr sz="900"/>
            </a:lvl4pPr>
            <a:lvl5pPr algn="r"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35"/>
          <p:cNvSpPr>
            <a:spLocks noGrp="1"/>
          </p:cNvSpPr>
          <p:nvPr>
            <p:ph type="body" sz="quarter" idx="27"/>
          </p:nvPr>
        </p:nvSpPr>
        <p:spPr>
          <a:xfrm>
            <a:off x="255600" y="3527035"/>
            <a:ext cx="2303114" cy="1189038"/>
          </a:xfrm>
        </p:spPr>
        <p:txBody>
          <a:bodyPr lIns="0" tIns="36000" rIns="72000" bIns="36000" anchor="ctr"/>
          <a:lstStyle>
            <a:lvl1pPr algn="r">
              <a:defRPr sz="1200"/>
            </a:lvl1pPr>
            <a:lvl2pPr algn="r">
              <a:defRPr sz="1100"/>
            </a:lvl2pPr>
            <a:lvl3pPr algn="r">
              <a:defRPr sz="900"/>
            </a:lvl3pPr>
            <a:lvl4pPr algn="r">
              <a:defRPr sz="900"/>
            </a:lvl4pPr>
            <a:lvl5pPr algn="r"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9" name="Текст 35"/>
          <p:cNvSpPr>
            <a:spLocks noGrp="1"/>
          </p:cNvSpPr>
          <p:nvPr>
            <p:ph type="body" sz="quarter" idx="28"/>
          </p:nvPr>
        </p:nvSpPr>
        <p:spPr>
          <a:xfrm>
            <a:off x="6558240" y="878807"/>
            <a:ext cx="2333760" cy="1189038"/>
          </a:xfrm>
        </p:spPr>
        <p:txBody>
          <a:bodyPr lIns="72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0" name="Текст 35"/>
          <p:cNvSpPr>
            <a:spLocks noGrp="1"/>
          </p:cNvSpPr>
          <p:nvPr>
            <p:ph type="body" sz="quarter" idx="29"/>
          </p:nvPr>
        </p:nvSpPr>
        <p:spPr>
          <a:xfrm>
            <a:off x="6558240" y="2202921"/>
            <a:ext cx="2333760" cy="1189038"/>
          </a:xfrm>
        </p:spPr>
        <p:txBody>
          <a:bodyPr lIns="72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35"/>
          <p:cNvSpPr>
            <a:spLocks noGrp="1"/>
          </p:cNvSpPr>
          <p:nvPr>
            <p:ph type="body" sz="quarter" idx="30"/>
          </p:nvPr>
        </p:nvSpPr>
        <p:spPr>
          <a:xfrm>
            <a:off x="6558240" y="3527035"/>
            <a:ext cx="2333760" cy="1189038"/>
          </a:xfrm>
        </p:spPr>
        <p:txBody>
          <a:bodyPr lIns="72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cxnSp>
        <p:nvCxnSpPr>
          <p:cNvPr id="43" name="Соединительная линия уступом 42"/>
          <p:cNvCxnSpPr>
            <a:endCxn id="41" idx="1"/>
          </p:cNvCxnSpPr>
          <p:nvPr/>
        </p:nvCxnSpPr>
        <p:spPr bwMode="auto">
          <a:xfrm>
            <a:off x="5563760" y="3678753"/>
            <a:ext cx="994480" cy="442801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51" name="Соединительная линия уступом 50"/>
          <p:cNvCxnSpPr>
            <a:stCxn id="39" idx="1"/>
          </p:cNvCxnSpPr>
          <p:nvPr/>
        </p:nvCxnSpPr>
        <p:spPr bwMode="auto">
          <a:xfrm rot="10800000" flipV="1">
            <a:off x="5550968" y="1473326"/>
            <a:ext cx="1007272" cy="54029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>
            <a:cxnSpLocks/>
          </p:cNvCxnSpPr>
          <p:nvPr/>
        </p:nvCxnSpPr>
        <p:spPr bwMode="auto">
          <a:xfrm flipH="1">
            <a:off x="2587465" y="2797440"/>
            <a:ext cx="739105" cy="0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52" name="Прямая соединительная линия 51"/>
          <p:cNvCxnSpPr>
            <a:cxnSpLocks/>
          </p:cNvCxnSpPr>
          <p:nvPr/>
        </p:nvCxnSpPr>
        <p:spPr bwMode="auto">
          <a:xfrm flipH="1">
            <a:off x="5911135" y="2797440"/>
            <a:ext cx="629001" cy="0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2374486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Титульный фоновое фото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935027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23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3869267" y="984813"/>
            <a:ext cx="5274733" cy="3241289"/>
          </a:xfrm>
          <a:prstGeom prst="rect">
            <a:avLst/>
          </a:prstGeom>
          <a:gradFill>
            <a:gsLst>
              <a:gs pos="2020">
                <a:schemeClr val="accent1">
                  <a:alpha val="85000"/>
                </a:schemeClr>
              </a:gs>
              <a:gs pos="35000">
                <a:srgbClr val="008C95">
                  <a:alpha val="77000"/>
                </a:srgbClr>
              </a:gs>
              <a:gs pos="74000">
                <a:schemeClr val="accent1">
                  <a:alpha val="68000"/>
                </a:schemeClr>
              </a:gs>
              <a:gs pos="100000">
                <a:schemeClr val="accent1">
                  <a:alpha val="50000"/>
                </a:schemeClr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123267" y="1210582"/>
            <a:ext cx="4761175" cy="1441767"/>
          </a:xfrm>
          <a:effectLst/>
        </p:spPr>
        <p:txBody>
          <a:bodyPr>
            <a:normAutofit/>
          </a:bodyPr>
          <a:lstStyle>
            <a:lvl1pPr>
              <a:defRPr lang="ru-RU" sz="28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23047" y="2737470"/>
            <a:ext cx="4761308" cy="792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123046" y="3614591"/>
            <a:ext cx="4761308" cy="540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31" name="Rectangle 30"/>
          <p:cNvSpPr/>
          <p:nvPr/>
        </p:nvSpPr>
        <p:spPr bwMode="auto">
          <a:xfrm>
            <a:off x="312248" y="331723"/>
            <a:ext cx="1114216" cy="360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188" y="428923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129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8577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109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0840508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pos="276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 слев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Рисунок 13"/>
          <p:cNvSpPr>
            <a:spLocks noGrp="1"/>
          </p:cNvSpPr>
          <p:nvPr>
            <p:ph type="pic" sz="quarter" idx="15" hasCustomPrompt="1"/>
          </p:nvPr>
        </p:nvSpPr>
        <p:spPr>
          <a:xfrm>
            <a:off x="1" y="0"/>
            <a:ext cx="3566724" cy="5143500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444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1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304876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971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Рисунок 13"/>
          <p:cNvSpPr>
            <a:spLocks noGrp="1"/>
          </p:cNvSpPr>
          <p:nvPr>
            <p:ph type="pic" sz="quarter" idx="15" hasCustomPrompt="1"/>
          </p:nvPr>
        </p:nvSpPr>
        <p:spPr>
          <a:xfrm>
            <a:off x="5577276" y="0"/>
            <a:ext cx="3566724" cy="5143500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234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64485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2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564487" y="3895792"/>
            <a:ext cx="4960594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64485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051" y="357166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239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 внизу (рамка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393540" y="3094276"/>
            <a:ext cx="8414796" cy="1732369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6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Прямоугольник 6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02217" y="898072"/>
            <a:ext cx="8506117" cy="1298132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spcBef>
                <a:spcPts val="0"/>
              </a:spcBef>
              <a:defRPr kumimoji="0" lang="ru-RU" sz="3200" b="0" i="0" u="none" strike="noStrike" kern="1200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defTabSz="914395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ru-RU" dirty="0"/>
              <a:t>Название презентации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 bwMode="auto">
          <a:xfrm>
            <a:off x="393539" y="2278556"/>
            <a:ext cx="0" cy="69696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Прямая соединительная линия 38"/>
          <p:cNvCxnSpPr/>
          <p:nvPr/>
        </p:nvCxnSpPr>
        <p:spPr bwMode="auto">
          <a:xfrm>
            <a:off x="5203902" y="2278556"/>
            <a:ext cx="0" cy="69696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76184" y="2225922"/>
            <a:ext cx="4644059" cy="774322"/>
          </a:xfrm>
          <a:prstGeom prst="rect">
            <a:avLst/>
          </a:prstGeom>
        </p:spPr>
        <p:txBody>
          <a:bodyPr tIns="3600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4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5287562" y="2225922"/>
            <a:ext cx="3520772" cy="774322"/>
          </a:xfrm>
          <a:prstGeom prst="rect">
            <a:avLst/>
          </a:prstGeom>
        </p:spPr>
        <p:txBody>
          <a:bodyPr tIns="36000"/>
          <a:lstStyle>
            <a:lvl1pPr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998" y="366765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0042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6.xml"/><Relationship Id="rId7" Type="http://schemas.openxmlformats.org/officeDocument/2006/relationships/theme" Target="../theme/theme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oleObject" Target="../embeddings/oleObject12.bin"/><Relationship Id="rId5" Type="http://schemas.openxmlformats.org/officeDocument/2006/relationships/slideLayout" Target="../slideLayouts/slideLayout18.xml"/><Relationship Id="rId10" Type="http://schemas.openxmlformats.org/officeDocument/2006/relationships/tags" Target="../tags/tag21.xml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oleObject" Target="../embeddings/oleObject18.bin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tags" Target="../tags/tag30.xml"/><Relationship Id="rId5" Type="http://schemas.openxmlformats.org/officeDocument/2006/relationships/slideLayout" Target="../slideLayouts/slideLayout24.xml"/><Relationship Id="rId10" Type="http://schemas.openxmlformats.org/officeDocument/2006/relationships/tags" Target="../tags/tag29.xml"/><Relationship Id="rId4" Type="http://schemas.openxmlformats.org/officeDocument/2006/relationships/slideLayout" Target="../slideLayouts/slideLayout23.xml"/><Relationship Id="rId9" Type="http://schemas.openxmlformats.org/officeDocument/2006/relationships/vmlDrawing" Target="../drawings/vmlDrawing18.v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vmlDrawing" Target="../drawings/vmlDrawing19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8.xml"/><Relationship Id="rId16" Type="http://schemas.openxmlformats.org/officeDocument/2006/relationships/oleObject" Target="../embeddings/oleObject19.bin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tags" Target="../tags/tag32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ags" Target="../tags/tag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ags" Target="../tags/tag40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ags" Target="../tags/tag39.xml"/><Relationship Id="rId2" Type="http://schemas.openxmlformats.org/officeDocument/2006/relationships/slideLayout" Target="../slideLayouts/slideLayout39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vmlDrawing" Target="../drawings/vmlDrawing23.vml"/><Relationship Id="rId5" Type="http://schemas.openxmlformats.org/officeDocument/2006/relationships/slideLayout" Target="../slideLayouts/slideLayout42.xml"/><Relationship Id="rId15" Type="http://schemas.openxmlformats.org/officeDocument/2006/relationships/image" Target="../media/image1.emf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oleObject" Target="../embeddings/oleObject23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tags" Target="../tags/tag49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ags" Target="../tags/tag48.xml"/><Relationship Id="rId2" Type="http://schemas.openxmlformats.org/officeDocument/2006/relationships/slideLayout" Target="../slideLayouts/slideLayout48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vmlDrawing" Target="../drawings/vmlDrawing28.vml"/><Relationship Id="rId5" Type="http://schemas.openxmlformats.org/officeDocument/2006/relationships/slideLayout" Target="../slideLayouts/slideLayout51.xml"/><Relationship Id="rId15" Type="http://schemas.openxmlformats.org/officeDocument/2006/relationships/image" Target="../media/image1.emf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oleObject" Target="../embeddings/oleObject28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oleObject" Target="../embeddings/oleObject34.bin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tags" Target="../tags/tag61.xml"/><Relationship Id="rId5" Type="http://schemas.openxmlformats.org/officeDocument/2006/relationships/slideLayout" Target="../slideLayouts/slideLayout60.xml"/><Relationship Id="rId10" Type="http://schemas.openxmlformats.org/officeDocument/2006/relationships/tags" Target="../tags/tag60.xml"/><Relationship Id="rId4" Type="http://schemas.openxmlformats.org/officeDocument/2006/relationships/slideLayout" Target="../slideLayouts/slideLayout59.xml"/><Relationship Id="rId9" Type="http://schemas.openxmlformats.org/officeDocument/2006/relationships/vmlDrawing" Target="../drawings/vmlDrawing34.v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802433045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2" name="Слайд think-cell" r:id="rId18" imgW="270" imgH="270" progId="TCLayout.ActiveDocument.1">
                  <p:embed/>
                </p:oleObj>
              </mc:Choice>
              <mc:Fallback>
                <p:oleObj name="Слайд think-cell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 smtClean="0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4" r:id="rId1"/>
    <p:sldLayoutId id="2147484252" r:id="rId2"/>
    <p:sldLayoutId id="2147484225" r:id="rId3"/>
    <p:sldLayoutId id="2147484207" r:id="rId4"/>
    <p:sldLayoutId id="2147484290" r:id="rId5"/>
    <p:sldLayoutId id="2147484291" r:id="rId6"/>
    <p:sldLayoutId id="2147484205" r:id="rId7"/>
    <p:sldLayoutId id="2147484251" r:id="rId8"/>
    <p:sldLayoutId id="2147484206" r:id="rId9"/>
    <p:sldLayoutId id="2147484250" r:id="rId10"/>
    <p:sldLayoutId id="2147484228" r:id="rId11"/>
    <p:sldLayoutId id="2147484247" r:id="rId12"/>
    <p:sldLayoutId id="2147484245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268" name="Слайд think-cell" r:id="rId11" imgW="270" imgH="270" progId="TCLayout.ActiveDocument.1">
                  <p:embed/>
                </p:oleObj>
              </mc:Choice>
              <mc:Fallback>
                <p:oleObj name="Слайд think-cell" r:id="rId11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0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 smtClean="0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316752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6" r:id="rId1"/>
    <p:sldLayoutId id="2147484307" r:id="rId2"/>
    <p:sldLayoutId id="2147484534" r:id="rId3"/>
    <p:sldLayoutId id="2147484535" r:id="rId4"/>
    <p:sldLayoutId id="2147484536" r:id="rId5"/>
    <p:sldLayoutId id="2147484545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556" name="Слайд think-cell" r:id="rId12" imgW="270" imgH="270" progId="TCLayout.ActiveDocument.1">
                  <p:embed/>
                </p:oleObj>
              </mc:Choice>
              <mc:Fallback>
                <p:oleObj name="Слайд think-cell" r:id="rId12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1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 smtClean="0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3866189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0" r:id="rId1"/>
    <p:sldLayoutId id="2147484541" r:id="rId2"/>
    <p:sldLayoutId id="2147484542" r:id="rId3"/>
    <p:sldLayoutId id="2147484543" r:id="rId4"/>
    <p:sldLayoutId id="2147484544" r:id="rId5"/>
    <p:sldLayoutId id="2147484546" r:id="rId6"/>
    <p:sldLayoutId id="2147484547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412" name="Слайд think-cell" r:id="rId16" imgW="270" imgH="270" progId="TCLayout.ActiveDocument.1">
                  <p:embed/>
                </p:oleObj>
              </mc:Choice>
              <mc:Fallback>
                <p:oleObj name="Слайд think-cell" r:id="rId16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5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 smtClean="0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587872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5" r:id="rId1"/>
    <p:sldLayoutId id="2147484336" r:id="rId2"/>
    <p:sldLayoutId id="2147484337" r:id="rId3"/>
    <p:sldLayoutId id="2147484338" r:id="rId4"/>
    <p:sldLayoutId id="2147484339" r:id="rId5"/>
    <p:sldLayoutId id="2147484340" r:id="rId6"/>
    <p:sldLayoutId id="2147484346" r:id="rId7"/>
    <p:sldLayoutId id="2147484352" r:id="rId8"/>
    <p:sldLayoutId id="2147484549" r:id="rId9"/>
    <p:sldLayoutId id="2147484550" r:id="rId10"/>
    <p:sldLayoutId id="2147484548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37" name="Слайд think-cell" r:id="rId14" imgW="270" imgH="270" progId="TCLayout.ActiveDocument.1">
                  <p:embed/>
                </p:oleObj>
              </mc:Choice>
              <mc:Fallback>
                <p:oleObj name="Слайд think-cell" r:id="rId1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 smtClean="0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2007367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7" r:id="rId1"/>
    <p:sldLayoutId id="2147484388" r:id="rId2"/>
    <p:sldLayoutId id="2147484389" r:id="rId3"/>
    <p:sldLayoutId id="2147484390" r:id="rId4"/>
    <p:sldLayoutId id="2147484391" r:id="rId5"/>
    <p:sldLayoutId id="2147484392" r:id="rId6"/>
    <p:sldLayoutId id="2147484551" r:id="rId7"/>
    <p:sldLayoutId id="2147484552" r:id="rId8"/>
    <p:sldLayoutId id="2147484553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485" name="Слайд think-cell" r:id="rId14" imgW="270" imgH="270" progId="TCLayout.ActiveDocument.1">
                  <p:embed/>
                </p:oleObj>
              </mc:Choice>
              <mc:Fallback>
                <p:oleObj name="Слайд think-cell" r:id="rId1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 smtClean="0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3306680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3" r:id="rId1"/>
    <p:sldLayoutId id="2147484434" r:id="rId2"/>
    <p:sldLayoutId id="2147484435" r:id="rId3"/>
    <p:sldLayoutId id="2147484436" r:id="rId4"/>
    <p:sldLayoutId id="2147484556" r:id="rId5"/>
    <p:sldLayoutId id="2147484555" r:id="rId6"/>
    <p:sldLayoutId id="2147484554" r:id="rId7"/>
    <p:sldLayoutId id="2147484557" r:id="rId8"/>
    <p:sldLayoutId id="214748455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509" name="Слайд think-cell" r:id="rId12" imgW="270" imgH="270" progId="TCLayout.ActiveDocument.1">
                  <p:embed/>
                </p:oleObj>
              </mc:Choice>
              <mc:Fallback>
                <p:oleObj name="Слайд think-cell" r:id="rId12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1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 smtClean="0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3193761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1" r:id="rId1"/>
    <p:sldLayoutId id="2147484482" r:id="rId2"/>
    <p:sldLayoutId id="2147484483" r:id="rId3"/>
    <p:sldLayoutId id="2147484484" r:id="rId4"/>
    <p:sldLayoutId id="2147484559" r:id="rId5"/>
    <p:sldLayoutId id="2147484560" r:id="rId6"/>
    <p:sldLayoutId id="2147484561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briefly.ru/iliakhov/pishi_sokrashchay/" TargetMode="External"/><Relationship Id="rId3" Type="http://schemas.openxmlformats.org/officeDocument/2006/relationships/hyperlink" Target="http://sibur.photas.ru/" TargetMode="External"/><Relationship Id="rId7" Type="http://schemas.openxmlformats.org/officeDocument/2006/relationships/hyperlink" Target="https://ru.freepik.com/" TargetMode="External"/><Relationship Id="rId2" Type="http://schemas.openxmlformats.org/officeDocument/2006/relationships/hyperlink" Target="https://social.sibur.ru/group/396/" TargetMode="External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icons8.ru/illustrations" TargetMode="External"/><Relationship Id="rId5" Type="http://schemas.openxmlformats.org/officeDocument/2006/relationships/hyperlink" Target="https://ru.freepik.com/free-icons" TargetMode="External"/><Relationship Id="rId4" Type="http://schemas.openxmlformats.org/officeDocument/2006/relationships/hyperlink" Target="http://sergeychikin.ru/365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 smtClean="0"/>
              <a:t>Людмила Змитрович</a:t>
            </a:r>
          </a:p>
          <a:p>
            <a:r>
              <a:rPr lang="ru-RU" dirty="0" smtClean="0"/>
              <a:t>Эксперт</a:t>
            </a:r>
          </a:p>
          <a:p>
            <a:r>
              <a:rPr lang="ru-RU" dirty="0"/>
              <a:t>Операционная деятельность ИТ</a:t>
            </a:r>
          </a:p>
          <a:p>
            <a:r>
              <a:rPr lang="ru-RU" dirty="0"/>
              <a:t>Развитие ИТ и цифровых </a:t>
            </a:r>
            <a:r>
              <a:rPr lang="ru-RU" dirty="0" smtClean="0"/>
              <a:t>компетенций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ru-RU" dirty="0"/>
              <a:t>Дизайн </a:t>
            </a:r>
            <a:r>
              <a:rPr lang="ru-RU" dirty="0" smtClean="0"/>
              <a:t>презентаций</a:t>
            </a:r>
          </a:p>
          <a:p>
            <a:r>
              <a:rPr lang="ru-RU" dirty="0" smtClean="0"/>
              <a:t>10.03.2021</a:t>
            </a:r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Дизайн презентаци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34776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/>
        </p:nvSpPr>
        <p:spPr bwMode="auto">
          <a:xfrm>
            <a:off x="3166947" y="0"/>
            <a:ext cx="5977054" cy="5143500"/>
          </a:xfrm>
          <a:custGeom>
            <a:avLst/>
            <a:gdLst>
              <a:gd name="connsiteX0" fmla="*/ 0 w 4664427"/>
              <a:gd name="connsiteY0" fmla="*/ 0 h 5143500"/>
              <a:gd name="connsiteX1" fmla="*/ 4664427 w 4664427"/>
              <a:gd name="connsiteY1" fmla="*/ 0 h 5143500"/>
              <a:gd name="connsiteX2" fmla="*/ 4664427 w 4664427"/>
              <a:gd name="connsiteY2" fmla="*/ 5143500 h 5143500"/>
              <a:gd name="connsiteX3" fmla="*/ 0 w 4664427"/>
              <a:gd name="connsiteY3" fmla="*/ 5143500 h 5143500"/>
              <a:gd name="connsiteX4" fmla="*/ 0 w 4664427"/>
              <a:gd name="connsiteY4" fmla="*/ 0 h 5143500"/>
              <a:gd name="connsiteX0" fmla="*/ 1598342 w 4664427"/>
              <a:gd name="connsiteY0" fmla="*/ 0 h 5143500"/>
              <a:gd name="connsiteX1" fmla="*/ 4664427 w 4664427"/>
              <a:gd name="connsiteY1" fmla="*/ 0 h 5143500"/>
              <a:gd name="connsiteX2" fmla="*/ 4664427 w 4664427"/>
              <a:gd name="connsiteY2" fmla="*/ 5143500 h 5143500"/>
              <a:gd name="connsiteX3" fmla="*/ 0 w 4664427"/>
              <a:gd name="connsiteY3" fmla="*/ 5143500 h 5143500"/>
              <a:gd name="connsiteX4" fmla="*/ 1598342 w 4664427"/>
              <a:gd name="connsiteY4" fmla="*/ 0 h 5143500"/>
              <a:gd name="connsiteX0" fmla="*/ 1248938 w 4664427"/>
              <a:gd name="connsiteY0" fmla="*/ 0 h 5150934"/>
              <a:gd name="connsiteX1" fmla="*/ 4664427 w 4664427"/>
              <a:gd name="connsiteY1" fmla="*/ 7434 h 5150934"/>
              <a:gd name="connsiteX2" fmla="*/ 4664427 w 4664427"/>
              <a:gd name="connsiteY2" fmla="*/ 5150934 h 5150934"/>
              <a:gd name="connsiteX3" fmla="*/ 0 w 4664427"/>
              <a:gd name="connsiteY3" fmla="*/ 5150934 h 5150934"/>
              <a:gd name="connsiteX4" fmla="*/ 1248938 w 4664427"/>
              <a:gd name="connsiteY4" fmla="*/ 0 h 5150934"/>
              <a:gd name="connsiteX0" fmla="*/ 2549914 w 5965403"/>
              <a:gd name="connsiteY0" fmla="*/ 0 h 5150934"/>
              <a:gd name="connsiteX1" fmla="*/ 5965403 w 5965403"/>
              <a:gd name="connsiteY1" fmla="*/ 7434 h 5150934"/>
              <a:gd name="connsiteX2" fmla="*/ 5965403 w 5965403"/>
              <a:gd name="connsiteY2" fmla="*/ 5150934 h 5150934"/>
              <a:gd name="connsiteX3" fmla="*/ 0 w 5965403"/>
              <a:gd name="connsiteY3" fmla="*/ 5143500 h 5150934"/>
              <a:gd name="connsiteX4" fmla="*/ 2549914 w 5965403"/>
              <a:gd name="connsiteY4" fmla="*/ 0 h 5150934"/>
              <a:gd name="connsiteX0" fmla="*/ 1702421 w 5965403"/>
              <a:gd name="connsiteY0" fmla="*/ 0 h 5150934"/>
              <a:gd name="connsiteX1" fmla="*/ 5965403 w 5965403"/>
              <a:gd name="connsiteY1" fmla="*/ 7434 h 5150934"/>
              <a:gd name="connsiteX2" fmla="*/ 5965403 w 5965403"/>
              <a:gd name="connsiteY2" fmla="*/ 5150934 h 5150934"/>
              <a:gd name="connsiteX3" fmla="*/ 0 w 5965403"/>
              <a:gd name="connsiteY3" fmla="*/ 5143500 h 5150934"/>
              <a:gd name="connsiteX4" fmla="*/ 1702421 w 5965403"/>
              <a:gd name="connsiteY4" fmla="*/ 0 h 5150934"/>
              <a:gd name="connsiteX0" fmla="*/ 1880840 w 5965403"/>
              <a:gd name="connsiteY0" fmla="*/ 0 h 5143500"/>
              <a:gd name="connsiteX1" fmla="*/ 5965403 w 5965403"/>
              <a:gd name="connsiteY1" fmla="*/ 0 h 5143500"/>
              <a:gd name="connsiteX2" fmla="*/ 5965403 w 5965403"/>
              <a:gd name="connsiteY2" fmla="*/ 5143500 h 5143500"/>
              <a:gd name="connsiteX3" fmla="*/ 0 w 5965403"/>
              <a:gd name="connsiteY3" fmla="*/ 5136066 h 5143500"/>
              <a:gd name="connsiteX4" fmla="*/ 1880840 w 5965403"/>
              <a:gd name="connsiteY4" fmla="*/ 0 h 5143500"/>
              <a:gd name="connsiteX0" fmla="*/ 1821367 w 5965403"/>
              <a:gd name="connsiteY0" fmla="*/ 0 h 5143500"/>
              <a:gd name="connsiteX1" fmla="*/ 5965403 w 5965403"/>
              <a:gd name="connsiteY1" fmla="*/ 0 h 5143500"/>
              <a:gd name="connsiteX2" fmla="*/ 5965403 w 5965403"/>
              <a:gd name="connsiteY2" fmla="*/ 5143500 h 5143500"/>
              <a:gd name="connsiteX3" fmla="*/ 0 w 5965403"/>
              <a:gd name="connsiteY3" fmla="*/ 5136066 h 5143500"/>
              <a:gd name="connsiteX4" fmla="*/ 1821367 w 5965403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65403" h="5143500">
                <a:moveTo>
                  <a:pt x="1821367" y="0"/>
                </a:moveTo>
                <a:lnTo>
                  <a:pt x="5965403" y="0"/>
                </a:lnTo>
                <a:lnTo>
                  <a:pt x="5965403" y="5143500"/>
                </a:lnTo>
                <a:lnTo>
                  <a:pt x="0" y="5136066"/>
                </a:lnTo>
                <a:lnTo>
                  <a:pt x="1821367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Правило 10/20/30 (10 слайдов, 20 минут, 30 размер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Заголовок = вывод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Дополняет спикер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Графика </a:t>
            </a:r>
            <a:r>
              <a:rPr lang="en-US" dirty="0"/>
              <a:t>&gt; </a:t>
            </a:r>
            <a:r>
              <a:rPr lang="ru-RU" dirty="0"/>
              <a:t>Текст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1 слайд = 1 иде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Правило трех секунд (время на охват данных на слайде)</a:t>
            </a:r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Нет четкого ограничения по размеру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Заголовок = структур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Заменяет спикер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Текст + график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1 идея может «растекаться» на несколько слайдов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Нет ограничения по времени</a:t>
            </a: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 smtClean="0"/>
              <a:t>Виды презентаций</a:t>
            </a:r>
            <a:endParaRPr lang="ru-RU" sz="240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idx="17"/>
          </p:nvPr>
        </p:nvSpPr>
        <p:spPr/>
        <p:txBody>
          <a:bodyPr/>
          <a:lstStyle/>
          <a:p>
            <a:r>
              <a:rPr lang="ru-RU" dirty="0" smtClean="0"/>
              <a:t>Внутренние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idx="20"/>
          </p:nvPr>
        </p:nvSpPr>
        <p:spPr>
          <a:xfrm>
            <a:off x="4831577" y="818732"/>
            <a:ext cx="4223975" cy="448751"/>
          </a:xfrm>
        </p:spPr>
        <p:txBody>
          <a:bodyPr/>
          <a:lstStyle/>
          <a:p>
            <a:r>
              <a:rPr lang="ru-RU" dirty="0"/>
              <a:t>внешние</a:t>
            </a:r>
          </a:p>
        </p:txBody>
      </p:sp>
      <p:sp>
        <p:nvSpPr>
          <p:cNvPr id="8" name="Шеврон 7"/>
          <p:cNvSpPr/>
          <p:nvPr/>
        </p:nvSpPr>
        <p:spPr bwMode="auto">
          <a:xfrm>
            <a:off x="243830" y="3111787"/>
            <a:ext cx="673100" cy="800100"/>
          </a:xfrm>
          <a:prstGeom prst="chevron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04668" y="3284373"/>
            <a:ext cx="287434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accent5">
                    <a:lumMod val="50000"/>
                  </a:schemeClr>
                </a:solidFill>
              </a:rPr>
              <a:t>Содержание важнее формы</a:t>
            </a:r>
            <a:endParaRPr lang="ru-RU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555472" y="3284372"/>
            <a:ext cx="214398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Форма</a:t>
            </a:r>
            <a:r>
              <a:rPr lang="ru-RU" dirty="0" smtClean="0">
                <a:solidFill>
                  <a:schemeClr val="bg1"/>
                </a:solidFill>
              </a:rPr>
              <a:t> 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+ содержание</a:t>
            </a:r>
          </a:p>
        </p:txBody>
      </p:sp>
      <p:sp>
        <p:nvSpPr>
          <p:cNvPr id="12" name="Шеврон 11"/>
          <p:cNvSpPr/>
          <p:nvPr/>
        </p:nvSpPr>
        <p:spPr bwMode="auto">
          <a:xfrm>
            <a:off x="4694634" y="3109406"/>
            <a:ext cx="673100" cy="800100"/>
          </a:xfrm>
          <a:prstGeom prst="chevron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6581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Используем 3-5 базовых цветов для создания презентаци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Используем единый стиль графических элементов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Задаем ритм презентации через повторы и их нарушени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Используем 1-2 шрифта на презентацию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Поддерживаем плотность слайдов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Группируем данные по смысловым группам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Используем графику и воздух для повышения читаемости групп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Не более 3 основных групп на слайд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Бьем информацию на сегменты внутри одной групп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Выделяем ключевые элементы</a:t>
            </a:r>
          </a:p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Используем линейку и/или сетку для организации информации на слайдах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Второстепенные элементы подчиняются главным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Не более 2 типов выравнивания на слайд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Контент </a:t>
            </a:r>
            <a:r>
              <a:rPr lang="ru-RU" dirty="0" smtClean="0"/>
              <a:t>сбалансирован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Не перегружаем слайд визуально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Используем воздух для организации пространств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Больше не равно лучш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Графика </a:t>
            </a:r>
            <a:r>
              <a:rPr lang="en-US" dirty="0" smtClean="0"/>
              <a:t>&gt; </a:t>
            </a:r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Правила организации информации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idx="17"/>
          </p:nvPr>
        </p:nvSpPr>
        <p:spPr/>
        <p:txBody>
          <a:bodyPr/>
          <a:lstStyle/>
          <a:p>
            <a:r>
              <a:rPr lang="ru-RU" dirty="0" smtClean="0"/>
              <a:t>Группировка информации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idx="18"/>
          </p:nvPr>
        </p:nvSpPr>
        <p:spPr/>
        <p:txBody>
          <a:bodyPr/>
          <a:lstStyle/>
          <a:p>
            <a:r>
              <a:rPr lang="ru-RU" dirty="0" smtClean="0"/>
              <a:t>Выравнивание элементов на слайде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idx="19"/>
          </p:nvPr>
        </p:nvSpPr>
        <p:spPr/>
        <p:txBody>
          <a:bodyPr/>
          <a:lstStyle/>
          <a:p>
            <a:r>
              <a:rPr lang="ru-RU" dirty="0" smtClean="0"/>
              <a:t>Повторы и ритм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idx="20"/>
          </p:nvPr>
        </p:nvSpPr>
        <p:spPr/>
        <p:txBody>
          <a:bodyPr/>
          <a:lstStyle/>
          <a:p>
            <a:r>
              <a:rPr lang="ru-RU" dirty="0" smtClean="0"/>
              <a:t>Воздух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19331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defTabSz="914400"/>
            <a:r>
              <a:rPr lang="ru-RU" b="1" dirty="0" smtClean="0">
                <a:solidFill>
                  <a:schemeClr val="accent5">
                    <a:lumMod val="50000"/>
                  </a:schemeClr>
                </a:solidFill>
              </a:rPr>
              <a:t>Копирование </a:t>
            </a:r>
            <a:r>
              <a:rPr lang="ru-RU" b="1" dirty="0">
                <a:solidFill>
                  <a:schemeClr val="accent5">
                    <a:lumMod val="50000"/>
                  </a:schemeClr>
                </a:solidFill>
              </a:rPr>
              <a:t>слайдов </a:t>
            </a:r>
            <a:r>
              <a:rPr lang="ru-RU" dirty="0"/>
              <a:t>из одного формата в другой. Используется для большого количества слайдов. Для этого необходимо:</a:t>
            </a:r>
            <a:endParaRPr lang="en-US" dirty="0"/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ru-RU" dirty="0"/>
              <a:t>Выделить нужные для перевода в новый формат слайды </a:t>
            </a:r>
            <a:endParaRPr lang="en-US" dirty="0"/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ru-RU" dirty="0"/>
              <a:t>Скопировать в буфер обмена – Правая кнопка мыши &gt; Копировать (или </a:t>
            </a:r>
            <a:r>
              <a:rPr lang="ru-RU" dirty="0" err="1"/>
              <a:t>Ctrl+C</a:t>
            </a:r>
            <a:r>
              <a:rPr lang="ru-RU" dirty="0"/>
              <a:t>) </a:t>
            </a:r>
            <a:endParaRPr lang="en-US" dirty="0"/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ru-RU" dirty="0"/>
              <a:t>Открыть новую презентацию в нужном формате </a:t>
            </a:r>
            <a:endParaRPr lang="en-US" dirty="0" smtClean="0"/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ru-RU" dirty="0" smtClean="0"/>
              <a:t>Правая </a:t>
            </a:r>
            <a:r>
              <a:rPr lang="ru-RU" dirty="0"/>
              <a:t>кнопка мыши &gt; Параметры вставки &gt; Использовать конечную тему </a:t>
            </a:r>
            <a:endParaRPr lang="en-US" dirty="0"/>
          </a:p>
          <a:p>
            <a:pPr defTabSz="914400"/>
            <a:endParaRPr lang="en-US" dirty="0"/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ru-RU" dirty="0"/>
              <a:t>Далее проверяем информацию на каждом слайде. Корректируем расположение объектов, цвет</a:t>
            </a:r>
          </a:p>
          <a:p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Формат презентации </a:t>
            </a:r>
            <a:r>
              <a:rPr lang="en-US" sz="2400" dirty="0" smtClean="0"/>
              <a:t>A4 →</a:t>
            </a:r>
            <a:r>
              <a:rPr lang="ru-RU" sz="2400" dirty="0" smtClean="0"/>
              <a:t>16:9</a:t>
            </a:r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b="1" dirty="0">
                <a:solidFill>
                  <a:schemeClr val="accent5">
                    <a:lumMod val="50000"/>
                  </a:schemeClr>
                </a:solidFill>
              </a:rPr>
              <a:t>К</a:t>
            </a:r>
            <a:r>
              <a:rPr lang="ru-RU" b="1" dirty="0" smtClean="0">
                <a:solidFill>
                  <a:schemeClr val="accent5">
                    <a:lumMod val="50000"/>
                  </a:schemeClr>
                </a:solidFill>
              </a:rPr>
              <a:t>опирование информации </a:t>
            </a:r>
            <a:r>
              <a:rPr lang="ru-RU" dirty="0"/>
              <a:t>на каждом слайде. Используется для небольшого количества слайдов. </a:t>
            </a:r>
            <a:r>
              <a:rPr lang="ru-RU" dirty="0" smtClean="0"/>
              <a:t>Для </a:t>
            </a:r>
            <a:r>
              <a:rPr lang="ru-RU" dirty="0"/>
              <a:t>этого </a:t>
            </a:r>
            <a:r>
              <a:rPr lang="ru-RU" dirty="0" smtClean="0"/>
              <a:t>необходимо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Выделить </a:t>
            </a:r>
            <a:r>
              <a:rPr lang="ru-RU" dirty="0"/>
              <a:t>нужные объекты </a:t>
            </a:r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Скопировать </a:t>
            </a:r>
            <a:r>
              <a:rPr lang="ru-RU" dirty="0"/>
              <a:t>в буфер обмена – Правая кнопка мыши &gt; Копировать (или </a:t>
            </a:r>
            <a:r>
              <a:rPr lang="ru-RU" dirty="0" err="1"/>
              <a:t>Ctrl+C</a:t>
            </a:r>
            <a:r>
              <a:rPr lang="ru-RU" dirty="0"/>
              <a:t>) </a:t>
            </a:r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Открыть </a:t>
            </a:r>
            <a:r>
              <a:rPr lang="ru-RU" dirty="0"/>
              <a:t>новую презентацию в нужном формате </a:t>
            </a:r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Правая </a:t>
            </a:r>
            <a:r>
              <a:rPr lang="ru-RU" dirty="0"/>
              <a:t>кнопка мыши &gt; Параметры вставки &gt; Сохранить исходное форматирование </a:t>
            </a:r>
            <a:endParaRPr lang="ru-RU" dirty="0" smtClean="0"/>
          </a:p>
          <a:p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Далее </a:t>
            </a:r>
            <a:r>
              <a:rPr lang="ru-RU" dirty="0"/>
              <a:t>корректируем размер и расположение объектов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0305" y="3355910"/>
            <a:ext cx="1094991" cy="413204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5704" y="3355910"/>
            <a:ext cx="1181100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748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Создаем собственные макеты слайдов с нужной модульной сеткой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Используем направляющие и сетку для организации объектов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Заголовок = вывод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1-2 строк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В конце заголовков точки не ставятся </a:t>
            </a:r>
            <a:endParaRPr lang="ru-RU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Не играем со шрифтами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Единый стиль, формат, цветовая гамм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Высокое качество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Графика </a:t>
            </a:r>
            <a:r>
              <a:rPr lang="en-US" dirty="0" smtClean="0"/>
              <a:t>&gt; </a:t>
            </a:r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Разделы заменяют или дополняют содержани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Повышают читаемость презентации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33"/>
          </p:nvPr>
        </p:nvSpPr>
        <p:spPr>
          <a:xfrm>
            <a:off x="6156000" y="3168806"/>
            <a:ext cx="2750196" cy="1365168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Используем готовые или создаем новые (Вид → Режимы образцов → Образец слайдов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Очевидное разграничение элементов на макете</a:t>
            </a:r>
            <a:endParaRPr lang="ru-RU" dirty="0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 smtClean="0"/>
              <a:t>Структура</a:t>
            </a:r>
            <a:endParaRPr lang="ru-RU" sz="2400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idx="17"/>
          </p:nvPr>
        </p:nvSpPr>
        <p:spPr>
          <a:xfrm>
            <a:off x="6156000" y="2798209"/>
            <a:ext cx="2736000" cy="448751"/>
          </a:xfrm>
        </p:spPr>
        <p:txBody>
          <a:bodyPr/>
          <a:lstStyle/>
          <a:p>
            <a:r>
              <a:rPr lang="ru-RU" dirty="0" smtClean="0"/>
              <a:t>макеты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idx="24"/>
          </p:nvPr>
        </p:nvSpPr>
        <p:spPr/>
        <p:txBody>
          <a:bodyPr/>
          <a:lstStyle/>
          <a:p>
            <a:r>
              <a:rPr lang="ru-RU" dirty="0" smtClean="0"/>
              <a:t>разделы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idx="38"/>
          </p:nvPr>
        </p:nvSpPr>
        <p:spPr/>
        <p:txBody>
          <a:bodyPr/>
          <a:lstStyle/>
          <a:p>
            <a:r>
              <a:rPr lang="ru-RU" dirty="0" smtClean="0"/>
              <a:t>заголовки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idx="39"/>
          </p:nvPr>
        </p:nvSpPr>
        <p:spPr/>
        <p:txBody>
          <a:bodyPr/>
          <a:lstStyle/>
          <a:p>
            <a:r>
              <a:rPr lang="ru-RU" dirty="0" smtClean="0"/>
              <a:t>графика</a:t>
            </a:r>
            <a:endParaRPr lang="ru-RU" dirty="0"/>
          </a:p>
        </p:txBody>
      </p:sp>
      <p:sp>
        <p:nvSpPr>
          <p:cNvPr id="15" name="Текст 14"/>
          <p:cNvSpPr>
            <a:spLocks noGrp="1"/>
          </p:cNvSpPr>
          <p:nvPr>
            <p:ph type="body" idx="40"/>
          </p:nvPr>
        </p:nvSpPr>
        <p:spPr/>
        <p:txBody>
          <a:bodyPr/>
          <a:lstStyle/>
          <a:p>
            <a:r>
              <a:rPr lang="ru-RU" dirty="0" smtClean="0"/>
              <a:t>Модульная сетка</a:t>
            </a:r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1829" y="2580118"/>
            <a:ext cx="3811030" cy="2542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307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По умолчанию – не используем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Простая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Минимум стадий анимаци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Не используем сложные переходы между слайдами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Единообразие формы и цвет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2</a:t>
            </a:r>
            <a:r>
              <a:rPr lang="en-US" dirty="0" smtClean="0"/>
              <a:t>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Векторные изображен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Без эффектов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Высокое качество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Единые пропорции при обрезани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Единая цветовая схем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Не более 4 на слайд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Без эффектов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Сохраняем пропорции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2</a:t>
            </a:r>
            <a:r>
              <a:rPr lang="en-US" dirty="0" smtClean="0"/>
              <a:t>D</a:t>
            </a:r>
            <a:endParaRPr lang="ru-RU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Подбираем тип под данны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5-7 наборов данных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Подписи располагаем горизонтально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Минимум линий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Светлая заливк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Минимум столбцов и строк (5 на 9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Контрастное выделение шапки и итогов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Выравнивание содержания по формату данных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1 на слайд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/>
              <a:t>Подбираем тип под </a:t>
            </a:r>
            <a:r>
              <a:rPr lang="ru-RU" dirty="0" smtClean="0"/>
              <a:t>цель визуализаци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Используем пиктограммы </a:t>
            </a:r>
            <a:endParaRPr lang="ru-RU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dirty="0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 smtClean="0"/>
              <a:t>Графические элементы</a:t>
            </a:r>
            <a:endParaRPr lang="ru-RU" sz="2400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6</a:t>
            </a:fld>
            <a:endParaRPr lang="ru-RU" dirty="0"/>
          </a:p>
        </p:txBody>
      </p:sp>
      <p:pic>
        <p:nvPicPr>
          <p:cNvPr id="54" name="Рисунок 53"/>
          <p:cNvPicPr>
            <a:picLocks noGrp="1" noChangeAspect="1"/>
          </p:cNvPicPr>
          <p:nvPr>
            <p:ph type="pic" sz="quarter" idx="2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57" name="Рисунок 56"/>
          <p:cNvPicPr>
            <a:picLocks noGrp="1" noChangeAspect="1"/>
          </p:cNvPicPr>
          <p:nvPr>
            <p:ph type="pic" sz="quarter" idx="2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1" b="1111"/>
          <a:stretch>
            <a:fillRect/>
          </a:stretch>
        </p:blipFill>
        <p:spPr/>
      </p:pic>
      <p:pic>
        <p:nvPicPr>
          <p:cNvPr id="55" name="Рисунок 54"/>
          <p:cNvPicPr>
            <a:picLocks noGrp="1" noChangeAspect="1"/>
          </p:cNvPicPr>
          <p:nvPr>
            <p:ph type="pic" sz="quarter" idx="2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0" b="1020"/>
          <a:stretch>
            <a:fillRect/>
          </a:stretch>
        </p:blipFill>
        <p:spPr/>
      </p:pic>
      <p:pic>
        <p:nvPicPr>
          <p:cNvPr id="58" name="Рисунок 57"/>
          <p:cNvPicPr>
            <a:picLocks noGrp="1" noChangeAspect="1"/>
          </p:cNvPicPr>
          <p:nvPr>
            <p:ph type="pic" sz="quarter" idx="24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67" b="4167"/>
          <a:stretch>
            <a:fillRect/>
          </a:stretch>
        </p:blipFill>
        <p:spPr/>
      </p:pic>
      <p:pic>
        <p:nvPicPr>
          <p:cNvPr id="56" name="Рисунок 55"/>
          <p:cNvPicPr>
            <a:picLocks noGrp="1" noChangeAspect="1"/>
          </p:cNvPicPr>
          <p:nvPr>
            <p:ph type="pic" sz="quarter" idx="25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00" r="6000"/>
          <a:stretch>
            <a:fillRect/>
          </a:stretch>
        </p:blipFill>
        <p:spPr/>
      </p:pic>
      <p:pic>
        <p:nvPicPr>
          <p:cNvPr id="59" name="Рисунок 58"/>
          <p:cNvPicPr>
            <a:picLocks noGrp="1" noChangeAspect="1"/>
          </p:cNvPicPr>
          <p:nvPr>
            <p:ph type="pic" sz="quarter" idx="26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16" name="Текст 15"/>
          <p:cNvSpPr>
            <a:spLocks noGrp="1"/>
          </p:cNvSpPr>
          <p:nvPr>
            <p:ph type="body" idx="17"/>
          </p:nvPr>
        </p:nvSpPr>
        <p:spPr/>
        <p:txBody>
          <a:bodyPr/>
          <a:lstStyle/>
          <a:p>
            <a:r>
              <a:rPr lang="ru-RU" dirty="0" smtClean="0"/>
              <a:t>Таблицы</a:t>
            </a:r>
            <a:endParaRPr lang="ru-RU" dirty="0"/>
          </a:p>
        </p:txBody>
      </p:sp>
      <p:sp>
        <p:nvSpPr>
          <p:cNvPr id="17" name="Текст 16"/>
          <p:cNvSpPr>
            <a:spLocks noGrp="1"/>
          </p:cNvSpPr>
          <p:nvPr>
            <p:ph type="body" idx="18"/>
          </p:nvPr>
        </p:nvSpPr>
        <p:spPr/>
        <p:txBody>
          <a:bodyPr/>
          <a:lstStyle/>
          <a:p>
            <a:r>
              <a:rPr lang="ru-RU" dirty="0" smtClean="0"/>
              <a:t>Схемы</a:t>
            </a:r>
            <a:r>
              <a:rPr lang="en-US" dirty="0" smtClean="0"/>
              <a:t> (SMARTART)</a:t>
            </a:r>
            <a:endParaRPr lang="ru-RU" dirty="0"/>
          </a:p>
        </p:txBody>
      </p:sp>
      <p:sp>
        <p:nvSpPr>
          <p:cNvPr id="18" name="Текст 17"/>
          <p:cNvSpPr>
            <a:spLocks noGrp="1"/>
          </p:cNvSpPr>
          <p:nvPr>
            <p:ph type="body" idx="38"/>
          </p:nvPr>
        </p:nvSpPr>
        <p:spPr/>
        <p:txBody>
          <a:bodyPr/>
          <a:lstStyle/>
          <a:p>
            <a:r>
              <a:rPr lang="ru-RU" dirty="0" smtClean="0"/>
              <a:t>Диаграммы</a:t>
            </a:r>
            <a:endParaRPr lang="ru-RU" dirty="0"/>
          </a:p>
        </p:txBody>
      </p:sp>
      <p:sp>
        <p:nvSpPr>
          <p:cNvPr id="19" name="Текст 18"/>
          <p:cNvSpPr>
            <a:spLocks noGrp="1"/>
          </p:cNvSpPr>
          <p:nvPr>
            <p:ph type="body" idx="39"/>
          </p:nvPr>
        </p:nvSpPr>
        <p:spPr/>
        <p:txBody>
          <a:bodyPr/>
          <a:lstStyle/>
          <a:p>
            <a:r>
              <a:rPr lang="ru-RU" dirty="0" smtClean="0"/>
              <a:t>Иконографика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idx="40"/>
          </p:nvPr>
        </p:nvSpPr>
        <p:spPr/>
        <p:txBody>
          <a:bodyPr/>
          <a:lstStyle/>
          <a:p>
            <a:r>
              <a:rPr lang="ru-RU" dirty="0" smtClean="0"/>
              <a:t>Изображения</a:t>
            </a:r>
            <a:endParaRPr lang="ru-RU" dirty="0"/>
          </a:p>
        </p:txBody>
      </p:sp>
      <p:sp>
        <p:nvSpPr>
          <p:cNvPr id="21" name="Текст 20"/>
          <p:cNvSpPr>
            <a:spLocks noGrp="1"/>
          </p:cNvSpPr>
          <p:nvPr>
            <p:ph type="body" idx="41"/>
          </p:nvPr>
        </p:nvSpPr>
        <p:spPr/>
        <p:txBody>
          <a:bodyPr/>
          <a:lstStyle/>
          <a:p>
            <a:r>
              <a:rPr lang="ru-RU" dirty="0" smtClean="0"/>
              <a:t>Анимаци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21536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 smtClean="0"/>
              <a:t>Тип данных → диаграмма</a:t>
            </a:r>
            <a:endParaRPr lang="ru-RU" sz="2400" dirty="0"/>
          </a:p>
        </p:txBody>
      </p:sp>
      <p:pic>
        <p:nvPicPr>
          <p:cNvPr id="15" name="Рисунок 14"/>
          <p:cNvPicPr>
            <a:picLocks noGrp="1" noChangeAspect="1"/>
          </p:cNvPicPr>
          <p:nvPr>
            <p:ph type="pic" sz="quarter" idx="2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4" r="6604"/>
          <a:stretch>
            <a:fillRect/>
          </a:stretch>
        </p:blipFill>
        <p:spPr/>
      </p:pic>
      <p:pic>
        <p:nvPicPr>
          <p:cNvPr id="16" name="Рисунок 15"/>
          <p:cNvPicPr>
            <a:picLocks noGrp="1" noChangeAspect="1"/>
          </p:cNvPicPr>
          <p:nvPr>
            <p:ph type="pic" sz="quarter" idx="2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4" r="6604"/>
          <a:stretch>
            <a:fillRect/>
          </a:stretch>
        </p:blipFill>
        <p:spPr/>
      </p:pic>
      <p:pic>
        <p:nvPicPr>
          <p:cNvPr id="17" name="Рисунок 16"/>
          <p:cNvPicPr>
            <a:picLocks noGrp="1" noChangeAspect="1"/>
          </p:cNvPicPr>
          <p:nvPr>
            <p:ph type="pic" sz="quarter" idx="2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4" r="6604"/>
          <a:stretch>
            <a:fillRect/>
          </a:stretch>
        </p:blipFill>
        <p:spPr/>
      </p:pic>
      <p:pic>
        <p:nvPicPr>
          <p:cNvPr id="18" name="Рисунок 17"/>
          <p:cNvPicPr>
            <a:picLocks noGrp="1" noChangeAspect="1"/>
          </p:cNvPicPr>
          <p:nvPr>
            <p:ph type="pic" sz="quarter" idx="2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4" r="6604"/>
          <a:stretch>
            <a:fillRect/>
          </a:stretch>
        </p:blipFill>
        <p:spPr/>
      </p:pic>
      <p:pic>
        <p:nvPicPr>
          <p:cNvPr id="19" name="Рисунок 18"/>
          <p:cNvPicPr>
            <a:picLocks noGrp="1" noChangeAspect="1"/>
          </p:cNvPicPr>
          <p:nvPr>
            <p:ph type="pic" sz="quarter" idx="2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4" r="6604"/>
          <a:stretch>
            <a:fillRect/>
          </a:stretch>
        </p:blipFill>
        <p:spPr/>
      </p:pic>
      <p:sp>
        <p:nvSpPr>
          <p:cNvPr id="9" name="Текст 8"/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ru-RU" sz="1400" b="1" dirty="0">
                <a:solidFill>
                  <a:schemeClr val="accent5">
                    <a:lumMod val="50000"/>
                  </a:schemeClr>
                </a:solidFill>
              </a:rPr>
              <a:t>Доля</a:t>
            </a:r>
            <a:r>
              <a:rPr lang="ru-RU" dirty="0"/>
              <a:t> – кольцевая/круговая, гистограмма с накоплением</a:t>
            </a: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ru-RU" sz="1400" b="1" dirty="0">
                <a:solidFill>
                  <a:schemeClr val="accent5">
                    <a:lumMod val="50000"/>
                  </a:schemeClr>
                </a:solidFill>
              </a:rPr>
              <a:t>Рейтинг</a:t>
            </a:r>
            <a:r>
              <a:rPr lang="ru-RU" dirty="0"/>
              <a:t> – линейная гистограмм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ru-RU" sz="1400" b="1" dirty="0">
                <a:solidFill>
                  <a:schemeClr val="accent5">
                    <a:lumMod val="50000"/>
                  </a:schemeClr>
                </a:solidFill>
              </a:rPr>
              <a:t>Динамика</a:t>
            </a:r>
            <a:r>
              <a:rPr lang="ru-RU" dirty="0"/>
              <a:t> – график или столбчатая гистограмма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ru-RU" sz="1400" b="1" dirty="0">
                <a:solidFill>
                  <a:schemeClr val="accent5">
                    <a:lumMod val="50000"/>
                  </a:schemeClr>
                </a:solidFill>
              </a:rPr>
              <a:t>Вероятность</a:t>
            </a:r>
            <a:r>
              <a:rPr lang="ru-RU" dirty="0"/>
              <a:t> – тепловая карта, точечная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ru-RU" sz="1400" b="1" dirty="0">
                <a:solidFill>
                  <a:schemeClr val="accent5">
                    <a:lumMod val="50000"/>
                  </a:schemeClr>
                </a:solidFill>
              </a:rPr>
              <a:t>Несколько</a:t>
            </a:r>
            <a:r>
              <a:rPr lang="ru-RU" dirty="0"/>
              <a:t> 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</a:rPr>
              <a:t>осей</a:t>
            </a:r>
            <a:r>
              <a:rPr lang="ru-RU" dirty="0"/>
              <a:t> 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</a:rPr>
              <a:t>данных</a:t>
            </a:r>
            <a:r>
              <a:rPr lang="ru-RU" dirty="0"/>
              <a:t> – лепестковая, пузырьковая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5394" y="733740"/>
            <a:ext cx="4822918" cy="3617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618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 smtClean="0"/>
              <a:t>Тип взаимосвязи → схема</a:t>
            </a:r>
            <a:endParaRPr lang="ru-RU" sz="2400" dirty="0"/>
          </a:p>
        </p:txBody>
      </p:sp>
      <p:pic>
        <p:nvPicPr>
          <p:cNvPr id="15" name="Рисунок 14"/>
          <p:cNvPicPr>
            <a:picLocks noGrp="1" noChangeAspect="1"/>
          </p:cNvPicPr>
          <p:nvPr>
            <p:ph type="pic" sz="quarter" idx="2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16" name="Рисунок 15"/>
          <p:cNvPicPr>
            <a:picLocks noGrp="1" noChangeAspect="1"/>
          </p:cNvPicPr>
          <p:nvPr>
            <p:ph type="pic" sz="quarter" idx="2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17" name="Рисунок 16"/>
          <p:cNvPicPr>
            <a:picLocks noGrp="1" noChangeAspect="1"/>
          </p:cNvPicPr>
          <p:nvPr>
            <p:ph type="pic" sz="quarter" idx="2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18" name="Рисунок 17"/>
          <p:cNvPicPr>
            <a:picLocks noGrp="1" noChangeAspect="1"/>
          </p:cNvPicPr>
          <p:nvPr>
            <p:ph type="pic" sz="quarter" idx="2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19" name="Рисунок 18"/>
          <p:cNvPicPr>
            <a:picLocks noGrp="1" noChangeAspect="1"/>
          </p:cNvPicPr>
          <p:nvPr>
            <p:ph type="pic" sz="quarter" idx="2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9" name="Текст 8"/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ru-RU" sz="1400" b="1" dirty="0">
                <a:solidFill>
                  <a:schemeClr val="accent5">
                    <a:lumMod val="50000"/>
                  </a:schemeClr>
                </a:solidFill>
              </a:rPr>
              <a:t>Хронология, последовательность </a:t>
            </a:r>
            <a:r>
              <a:rPr lang="ru-RU" dirty="0"/>
              <a:t>– </a:t>
            </a:r>
            <a:r>
              <a:rPr lang="ru-RU" dirty="0" err="1" smtClean="0"/>
              <a:t>таймлайн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ru-RU" sz="1400" b="1" dirty="0">
                <a:solidFill>
                  <a:schemeClr val="accent5">
                    <a:lumMod val="50000"/>
                  </a:schemeClr>
                </a:solidFill>
              </a:rPr>
              <a:t>Иерархия, структура </a:t>
            </a:r>
            <a:r>
              <a:rPr lang="ru-RU" dirty="0"/>
              <a:t>– дерево, каскад, блоки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ru-RU" sz="1400" b="1" dirty="0">
                <a:solidFill>
                  <a:schemeClr val="accent5">
                    <a:lumMod val="50000"/>
                  </a:schemeClr>
                </a:solidFill>
              </a:rPr>
              <a:t>Целостность</a:t>
            </a:r>
            <a:r>
              <a:rPr lang="ru-RU" dirty="0"/>
              <a:t> – пирамида, лепестки, пирог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ru-RU" sz="1400" b="1" dirty="0">
                <a:solidFill>
                  <a:schemeClr val="accent5">
                    <a:lumMod val="50000"/>
                  </a:schemeClr>
                </a:solidFill>
              </a:rPr>
              <a:t>Процесс</a:t>
            </a:r>
            <a:r>
              <a:rPr lang="ru-RU" dirty="0"/>
              <a:t> – горизонтальные стрелки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r>
              <a:rPr lang="ru-RU" sz="1400" b="1" dirty="0">
                <a:solidFill>
                  <a:schemeClr val="accent5">
                    <a:lumMod val="50000"/>
                  </a:schemeClr>
                </a:solidFill>
              </a:rPr>
              <a:t>Цикл</a:t>
            </a:r>
            <a:r>
              <a:rPr lang="ru-RU" dirty="0"/>
              <a:t> – круговые стрелки</a:t>
            </a: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911576" y="1236546"/>
            <a:ext cx="5232424" cy="3906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668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 smtClean="0"/>
              <a:t>Полезные ресурсы в сети</a:t>
            </a:r>
            <a:endParaRPr lang="ru-RU" sz="2400" dirty="0"/>
          </a:p>
        </p:txBody>
      </p:sp>
      <p:sp>
        <p:nvSpPr>
          <p:cNvPr id="3" name="TextBox 2"/>
          <p:cNvSpPr txBox="1"/>
          <p:nvPr/>
        </p:nvSpPr>
        <p:spPr>
          <a:xfrm>
            <a:off x="255600" y="838200"/>
            <a:ext cx="8239115" cy="30931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hlinkClick r:id="rId2"/>
              </a:rPr>
              <a:t>Группа в </a:t>
            </a:r>
            <a:r>
              <a:rPr lang="ru-RU" dirty="0" smtClean="0">
                <a:hlinkClick r:id="rId2"/>
              </a:rPr>
              <a:t>КЛИК</a:t>
            </a:r>
            <a:r>
              <a:rPr lang="en-US" dirty="0" smtClean="0"/>
              <a:t> - </a:t>
            </a:r>
            <a:r>
              <a:rPr lang="en-US" dirty="0">
                <a:hlinkClick r:id="rId2"/>
              </a:rPr>
              <a:t>https://social.sibur.ru/group/396</a:t>
            </a:r>
            <a:r>
              <a:rPr lang="en-US" dirty="0" smtClean="0">
                <a:hlinkClick r:id="rId2"/>
              </a:rPr>
              <a:t>/</a:t>
            </a:r>
            <a:r>
              <a:rPr lang="en-US" dirty="0" smtClean="0"/>
              <a:t> 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(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доступна только из корп. сети СИБУР)</a:t>
            </a:r>
          </a:p>
          <a:p>
            <a:endParaRPr lang="ru-RU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hlinkClick r:id="rId3"/>
              </a:rPr>
              <a:t>Фотобанк </a:t>
            </a:r>
            <a:r>
              <a:rPr lang="ru-RU" dirty="0" smtClean="0">
                <a:hlinkClick r:id="rId3"/>
              </a:rPr>
              <a:t>Сибур</a:t>
            </a:r>
            <a:r>
              <a:rPr lang="ru-RU" dirty="0" smtClean="0"/>
              <a:t> - </a:t>
            </a:r>
            <a:r>
              <a:rPr lang="en-US" dirty="0">
                <a:hlinkClick r:id="rId3"/>
              </a:rPr>
              <a:t>http://sibur.photas.ru/</a:t>
            </a:r>
            <a:endParaRPr lang="ru-RU" dirty="0" smtClean="0"/>
          </a:p>
          <a:p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err="1" smtClean="0">
                <a:hlinkClick r:id="rId4"/>
              </a:rPr>
              <a:t>Иконографика</a:t>
            </a:r>
            <a:r>
              <a:rPr lang="ru-RU" dirty="0" smtClean="0"/>
              <a:t> - </a:t>
            </a:r>
            <a:r>
              <a:rPr lang="en-US" dirty="0">
                <a:hlinkClick r:id="rId4"/>
              </a:rPr>
              <a:t>http://sergeychikin.ru/365/</a:t>
            </a:r>
            <a:endParaRPr lang="ru-RU" dirty="0" smtClean="0"/>
          </a:p>
          <a:p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err="1" smtClean="0">
                <a:hlinkClick r:id="rId5"/>
              </a:rPr>
              <a:t>Иконографика</a:t>
            </a:r>
            <a:r>
              <a:rPr lang="ru-RU" dirty="0" smtClean="0"/>
              <a:t> - </a:t>
            </a:r>
            <a:r>
              <a:rPr lang="en-US" dirty="0">
                <a:hlinkClick r:id="rId5"/>
              </a:rPr>
              <a:t>https://ru.freepik.com/free-icons</a:t>
            </a:r>
            <a:endParaRPr lang="ru-RU" dirty="0" smtClean="0"/>
          </a:p>
          <a:p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hlinkClick r:id="rId6"/>
              </a:rPr>
              <a:t>Графика</a:t>
            </a:r>
            <a:r>
              <a:rPr lang="ru-RU" dirty="0" smtClean="0"/>
              <a:t> - </a:t>
            </a:r>
            <a:r>
              <a:rPr lang="en-US" dirty="0">
                <a:hlinkClick r:id="rId6"/>
              </a:rPr>
              <a:t>https://icons8.ru/illustrations</a:t>
            </a:r>
            <a:endParaRPr lang="ru-RU" dirty="0" smtClean="0"/>
          </a:p>
          <a:p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hlinkClick r:id="rId7"/>
              </a:rPr>
              <a:t>Графика</a:t>
            </a:r>
            <a:r>
              <a:rPr lang="ru-RU" dirty="0" smtClean="0"/>
              <a:t> - </a:t>
            </a:r>
            <a:r>
              <a:rPr lang="en-US" dirty="0">
                <a:hlinkClick r:id="rId7"/>
              </a:rPr>
              <a:t>https://ru.freepik.com</a:t>
            </a:r>
            <a:r>
              <a:rPr lang="en-US" dirty="0" smtClean="0">
                <a:hlinkClick r:id="rId7"/>
              </a:rPr>
              <a:t>/</a:t>
            </a:r>
            <a:endParaRPr lang="ru-RU" dirty="0" smtClean="0"/>
          </a:p>
          <a:p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Пиши, сокращай, краткое содержание </a:t>
            </a:r>
            <a:r>
              <a:rPr lang="ru-RU" dirty="0" smtClean="0"/>
              <a:t>- </a:t>
            </a:r>
            <a:r>
              <a:rPr lang="en-US" dirty="0">
                <a:hlinkClick r:id="rId8"/>
              </a:rPr>
              <a:t>https://briefly.ru/iliakhov/pishi_sokrashchay/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7185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AKOy2aSBWb3iLNlO4r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iDM_HyTh2TAnVUjbbBu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sznRjaOOoS40jeWW3oT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sznRjaOOoS40jeWW3o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heme/theme1.xml><?xml version="1.0" encoding="utf-8"?>
<a:theme xmlns:a="http://schemas.openxmlformats.org/drawingml/2006/main" name="Default Theme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fault Theme" id="{C2B3E2E2-877C-4A0B-9E6A-75E2663F6E33}" vid="{95D91212-3B27-474D-90AD-EE89DE4EAB2D}"/>
    </a:ext>
  </a:extLst>
</a:theme>
</file>

<file path=ppt/theme/theme2.xml><?xml version="1.0" encoding="utf-8"?>
<a:theme xmlns:a="http://schemas.openxmlformats.org/drawingml/2006/main" name="Базовые слайды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27DC22F-5057-47A5-B5B5-5E0342230871}"/>
    </a:ext>
  </a:extLst>
</a:theme>
</file>

<file path=ppt/theme/theme3.xml><?xml version="1.0" encoding="utf-8"?>
<a:theme xmlns:a="http://schemas.openxmlformats.org/drawingml/2006/main" name="Одна колонка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CEEE22C-7C20-404B-9A68-8AF6E11D89F5}"/>
    </a:ext>
  </a:extLst>
</a:theme>
</file>

<file path=ppt/theme/theme4.xml><?xml version="1.0" encoding="utf-8"?>
<a:theme xmlns:a="http://schemas.openxmlformats.org/drawingml/2006/main" name="Две колонки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D940D6A-50B1-40A0-A849-B42380E2A9FB}"/>
    </a:ext>
  </a:extLst>
</a:theme>
</file>

<file path=ppt/theme/theme5.xml><?xml version="1.0" encoding="utf-8"?>
<a:theme xmlns:a="http://schemas.openxmlformats.org/drawingml/2006/main" name="Три колонки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5269E648-71A4-4CBE-B97A-02063611A9B8}"/>
    </a:ext>
  </a:extLst>
</a:theme>
</file>

<file path=ppt/theme/theme6.xml><?xml version="1.0" encoding="utf-8"?>
<a:theme xmlns:a="http://schemas.openxmlformats.org/drawingml/2006/main" name="Четыре колонки и более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AABA556F-02CD-43B5-A156-2EE10DC9F001}"/>
    </a:ext>
  </a:extLst>
</a:theme>
</file>

<file path=ppt/theme/theme7.xml><?xml version="1.0" encoding="utf-8"?>
<a:theme xmlns:a="http://schemas.openxmlformats.org/drawingml/2006/main" name="Схемы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CF50E1E-3D05-4BE1-A397-94D3F541EF7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213</TotalTime>
  <Words>632</Words>
  <Application>Microsoft Office PowerPoint</Application>
  <PresentationFormat>Экран (16:9)</PresentationFormat>
  <Paragraphs>144</Paragraphs>
  <Slides>9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9" baseType="lpstr">
      <vt:lpstr>Arial</vt:lpstr>
      <vt:lpstr>Wingdings</vt:lpstr>
      <vt:lpstr>Default Theme</vt:lpstr>
      <vt:lpstr>Базовые слайды</vt:lpstr>
      <vt:lpstr>Одна колонка</vt:lpstr>
      <vt:lpstr>Две колонки</vt:lpstr>
      <vt:lpstr>Три колонки</vt:lpstr>
      <vt:lpstr>Четыре колонки и более</vt:lpstr>
      <vt:lpstr>Схемы</vt:lpstr>
      <vt:lpstr>Слайд think-cell</vt:lpstr>
      <vt:lpstr>Дизайн презентаций</vt:lpstr>
      <vt:lpstr>Виды презентаций</vt:lpstr>
      <vt:lpstr>Правила организации информации</vt:lpstr>
      <vt:lpstr>Формат презентации A4 →16:9</vt:lpstr>
      <vt:lpstr>Структура</vt:lpstr>
      <vt:lpstr>Графические элементы</vt:lpstr>
      <vt:lpstr>Тип данных → диаграмма</vt:lpstr>
      <vt:lpstr>Тип взаимосвязи → схема</vt:lpstr>
      <vt:lpstr>Полезные ресурсы в сети</vt:lpstr>
    </vt:vector>
  </TitlesOfParts>
  <Company>SIBU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Дизайн презентаций</dc:title>
  <dc:creator>Змитрович Людмила Александровна</dc:creator>
  <cp:lastModifiedBy>SIBUR\ZmitrovichLA</cp:lastModifiedBy>
  <cp:revision>27</cp:revision>
  <dcterms:created xsi:type="dcterms:W3CDTF">2021-03-10T02:51:01Z</dcterms:created>
  <dcterms:modified xsi:type="dcterms:W3CDTF">2021-03-10T09:08:36Z</dcterms:modified>
</cp:coreProperties>
</file>